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238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ags/tag424.xml" ContentType="application/vnd.openxmlformats-officedocument.presentationml.tags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263.xml" ContentType="application/vnd.openxmlformats-officedocument.presentationml.tags+xml"/>
  <Override PartName="/ppt/slideLayouts/slideLayout171.xml" ContentType="application/vnd.openxmlformats-officedocument.presentationml.slideLayout+xml"/>
  <Default Extension="xml" ContentType="application/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slideLayouts/slideLayout71.xml" ContentType="application/vnd.openxmlformats-officedocument.presentationml.slideLayout+xml"/>
  <Override PartName="/ppt/tags/tag241.xml" ContentType="application/vnd.openxmlformats-officedocument.presentationml.tags+xml"/>
  <Override PartName="/ppt/tags/tag339.xml" ContentType="application/vnd.openxmlformats-officedocument.presentationml.tags+xml"/>
  <Override PartName="/ppt/tags/tag386.xml" ContentType="application/vnd.openxmlformats-officedocument.presentationml.tags+xml"/>
  <Override PartName="/ppt/tags/tag16.xml" ContentType="application/vnd.openxmlformats-officedocument.presentationml.tags+xml"/>
  <Override PartName="/ppt/tags/tag63.xml" ContentType="application/vnd.openxmlformats-officedocument.presentationml.tags+xml"/>
  <Override PartName="/ppt/slideLayouts/slideLayout102.xml" ContentType="application/vnd.openxmlformats-officedocument.presentationml.slideLayout+xml"/>
  <Override PartName="/ppt/tags/tag178.xml" ContentType="application/vnd.openxmlformats-officedocument.presentationml.tags+xml"/>
  <Override PartName="/ppt/tags/tag317.xml" ContentType="application/vnd.openxmlformats-officedocument.presentationml.tags+xml"/>
  <Override PartName="/ppt/tags/tag364.xml" ContentType="application/vnd.openxmlformats-officedocument.presentationml.tags+xml"/>
  <Override PartName="/ppt/slideMasters/slideMaster8.xml" ContentType="application/vnd.openxmlformats-officedocument.presentationml.slideMaster+xml"/>
  <Override PartName="/ppt/slideMasters/slideMaster11.xml" ContentType="application/vnd.openxmlformats-officedocument.presentationml.slideMaster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slideLayouts/slideLayout225.xml" ContentType="application/vnd.openxmlformats-officedocument.presentationml.slideLayout+xml"/>
  <Override PartName="/ppt/tags/tag41.xml" ContentType="application/vnd.openxmlformats-officedocument.presentationml.tags+xml"/>
  <Override PartName="/ppt/tags/tag279.xml" ContentType="application/vnd.openxmlformats-officedocument.presentationml.tags+xml"/>
  <Override PartName="/ppt/slideLayouts/slideLayout203.xml" ContentType="application/vnd.openxmlformats-officedocument.presentationml.slideLayout+xml"/>
  <Override PartName="/ppt/tags/tag342.xml" ContentType="application/vnd.openxmlformats-officedocument.presentationml.tags+xml"/>
  <Override PartName="/ppt/diagrams/data2.xml" ContentType="application/vnd.openxmlformats-officedocument.drawingml.diagramData+xml"/>
  <Default Extension="xlsx" ContentType="application/vnd.openxmlformats-officedocument.spreadsheetml.sheet"/>
  <Override PartName="/ppt/notesSlides/notesSlide7.xml" ContentType="application/vnd.openxmlformats-officedocument.presentationml.notesSlide+xml"/>
  <Override PartName="/ppt/theme/theme10.xml" ContentType="application/vnd.openxmlformats-officedocument.theme+xml"/>
  <Override PartName="/ppt/tags/tag134.xml" ContentType="application/vnd.openxmlformats-officedocument.presentationml.tags+xml"/>
  <Override PartName="/ppt/slideLayouts/slideLayout87.xml" ContentType="application/vnd.openxmlformats-officedocument.presentationml.slideLayout+xml"/>
  <Override PartName="/ppt/tags/tag181.xml" ContentType="application/vnd.openxmlformats-officedocument.presentationml.tags+xml"/>
  <Override PartName="/ppt/slideLayouts/slideLayout187.xml" ContentType="application/vnd.openxmlformats-officedocument.presentationml.slideLayout+xml"/>
  <Override PartName="/ppt/tags/tag320.xml" ContentType="application/vnd.openxmlformats-officedocument.presentationml.tags+xml"/>
  <Override PartName="/ppt/tags/tag418.xml" ContentType="application/vnd.openxmlformats-officedocument.presentationml.tags+xml"/>
  <Override PartName="/ppt/diagrams/colors4.xml" ContentType="application/vnd.openxmlformats-officedocument.drawingml.diagramColors+xml"/>
  <Override PartName="/ppt/slides/slide19.xml" ContentType="application/vnd.openxmlformats-officedocument.presentationml.slide+xml"/>
  <Default Extension="png" ContentType="image/png"/>
  <Override PartName="/ppt/tags/tag112.xml" ContentType="application/vnd.openxmlformats-officedocument.presentationml.tags+xml"/>
  <Override PartName="/ppt/slideLayouts/slideLayout118.xml" ContentType="application/vnd.openxmlformats-officedocument.presentationml.slideLayout+xml"/>
  <Override PartName="/ppt/tags/tag257.xml" ContentType="application/vnd.openxmlformats-officedocument.presentationml.tags+xml"/>
  <Override PartName="/ppt/slideLayouts/slideLayout165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slideLayouts/slideLayout65.xml" ContentType="application/vnd.openxmlformats-officedocument.presentationml.slideLayout+xml"/>
  <Override PartName="/ppt/diagrams/quickStyle3.xml" ContentType="application/vnd.openxmlformats-officedocument.drawingml.diagramStyle+xml"/>
  <Default Extension="emf" ContentType="image/x-emf"/>
  <Override PartName="/ppt/slideLayouts/slideLayout43.xml" ContentType="application/vnd.openxmlformats-officedocument.presentationml.slideLayout+xml"/>
  <Override PartName="/ppt/slideLayouts/slideLayout90.xml" ContentType="application/vnd.openxmlformats-officedocument.presentationml.slideLayout+xml"/>
  <Override PartName="/ppt/tags/tag235.xml" ContentType="application/vnd.openxmlformats-officedocument.presentationml.tags+xml"/>
  <Override PartName="/ppt/slideLayouts/slideLayout143.xml" ContentType="application/vnd.openxmlformats-officedocument.presentationml.slideLayout+xml"/>
  <Override PartName="/ppt/tags/tag282.xml" ContentType="application/vnd.openxmlformats-officedocument.presentationml.tags+xml"/>
  <Override PartName="/ppt/slideLayouts/slideLayout190.xml" ContentType="application/vnd.openxmlformats-officedocument.presentationml.slideLayout+xml"/>
  <Override PartName="/ppt/tags/tag421.xml" ContentType="application/vnd.openxmlformats-officedocument.presentationml.tags+xml"/>
  <Override PartName="/ppt/slides/slide22.xml" ContentType="application/vnd.openxmlformats-officedocument.presentationml.slide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ppt/tags/tag358.xml" ContentType="application/vnd.openxmlformats-officedocument.presentationml.tags+xml"/>
  <Override PartName="/ppt/slideLayouts/slideLayout219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82.xml" ContentType="application/vnd.openxmlformats-officedocument.presentationml.tags+xml"/>
  <Override PartName="/ppt/slideLayouts/slideLayout121.xml" ContentType="application/vnd.openxmlformats-officedocument.presentationml.slideLayout+xml"/>
  <Override PartName="/ppt/tags/tag197.xml" ContentType="application/vnd.openxmlformats-officedocument.presentationml.tags+xml"/>
  <Override PartName="/ppt/tags/tag336.xml" ContentType="application/vnd.openxmlformats-officedocument.presentationml.tags+xml"/>
  <Override PartName="/ppt/tags/tag383.xml" ContentType="application/vnd.openxmlformats-officedocument.presentationml.tags+xml"/>
  <Override PartName="/ppt/notesSlides/notesSlide13.xml" ContentType="application/vnd.openxmlformats-officedocument.presentationml.notesSlide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tags/tag361.xml" ContentType="application/vnd.openxmlformats-officedocument.presentationml.tags+xml"/>
  <Override PartName="/ppt/slideLayouts/slideLayout222.xml" ContentType="application/vnd.openxmlformats-officedocument.presentationml.slideLayout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tags/tag106.xml" ContentType="application/vnd.openxmlformats-officedocument.presentationml.tags+xml"/>
  <Override PartName="/ppt/tags/tag153.xml" ContentType="application/vnd.openxmlformats-officedocument.presentationml.tags+xml"/>
  <Override PartName="/ppt/slideLayouts/slideLayout159.xml" ContentType="application/vnd.openxmlformats-officedocument.presentationml.slideLayout+xml"/>
  <Override PartName="/ppt/notesSlides/notesSlide4.xml" ContentType="application/vnd.openxmlformats-officedocument.presentationml.notesSlide+xml"/>
  <Override PartName="/ppt/tags/tag131.xml" ContentType="application/vnd.openxmlformats-officedocument.presentationml.tags+xml"/>
  <Override PartName="/ppt/slideLayouts/slideLayout137.xml" ContentType="application/vnd.openxmlformats-officedocument.presentationml.slideLayout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slideLayouts/slideLayout184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ags/tag415.xml" ContentType="application/vnd.openxmlformats-officedocument.presentationml.tags+xml"/>
  <Override PartName="/ppt/diagrams/colors1.xml" ContentType="application/vnd.openxmlformats-officedocument.drawingml.diagramColors+xml"/>
  <Override PartName="/ppt/slideLayouts/slideLayout37.xml" ContentType="application/vnd.openxmlformats-officedocument.presentationml.slideLayout+xml"/>
  <Override PartName="/ppt/slideLayouts/slideLayout84.xml" ContentType="application/vnd.openxmlformats-officedocument.presentationml.slideLayout+xml"/>
  <Override PartName="/ppt/tags/tag98.xml" ContentType="application/vnd.openxmlformats-officedocument.presentationml.tags+xml"/>
  <Override PartName="/ppt/tags/tag207.xml" ContentType="application/vnd.openxmlformats-officedocument.presentationml.tags+xml"/>
  <Override PartName="/ppt/tags/tag254.xml" ContentType="application/vnd.openxmlformats-officedocument.presentationml.tags+xml"/>
  <Override PartName="/ppt/tags/tag399.xml" ContentType="application/vnd.openxmlformats-officedocument.presentationml.tags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slideLayouts/slideLayout140.xml" ContentType="application/vnd.openxmlformats-officedocument.presentationml.slideLayout+xml"/>
  <Override PartName="/ppt/slideLayouts/slideLayout238.xml" ContentType="application/vnd.openxmlformats-officedocument.presentationml.slideLayout+xml"/>
  <Override PartName="/ppt/tags/tag377.xml" ContentType="application/vnd.openxmlformats-officedocument.presentationml.tags+xml"/>
  <Override PartName="/ppt/slideLayouts/slideLayout40.xml" ContentType="application/vnd.openxmlformats-officedocument.presentationml.slideLayout+xml"/>
  <Override PartName="/ppt/tags/tag54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308.xml" ContentType="application/vnd.openxmlformats-officedocument.presentationml.tags+xml"/>
  <Override PartName="/ppt/tags/tag355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slideLayouts/slideLayout216.xml" ContentType="application/vnd.openxmlformats-officedocument.presentationml.slideLayout+xml"/>
  <Override PartName="/ppt/diagrams/layout3.xml" ContentType="application/vnd.openxmlformats-officedocument.drawingml.diagramLayout+xml"/>
  <Override PartName="/ppt/tags/tag32.xml" ContentType="application/vnd.openxmlformats-officedocument.presentationml.tags+xml"/>
  <Override PartName="/ppt/tags/tag333.xml" ContentType="application/vnd.openxmlformats-officedocument.presentationml.tags+xml"/>
  <Override PartName="/ppt/tags/tag380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slideLayouts/slideLayout78.xml" ContentType="application/vnd.openxmlformats-officedocument.presentationml.slideLayout+xml"/>
  <Override PartName="/ppt/tags/tag125.xml" ContentType="application/vnd.openxmlformats-officedocument.presentationml.tags+xml"/>
  <Override PartName="/ppt/tags/tag172.xml" ContentType="application/vnd.openxmlformats-officedocument.presentationml.tags+xml"/>
  <Override PartName="/ppt/slideLayouts/slideLayout178.xml" ContentType="application/vnd.openxmlformats-officedocument.presentationml.slideLayout+xml"/>
  <Override PartName="/ppt/tags/tag311.xml" ContentType="application/vnd.openxmlformats-officedocument.presentationml.tags+xml"/>
  <Override PartName="/ppt/tags/tag409.xml" ContentType="application/vnd.openxmlformats-officedocument.presentationml.tags+xml"/>
  <Override PartName="/ppt/slideMasters/slideMaster2.xml" ContentType="application/vnd.openxmlformats-officedocument.presentationml.slideMaster+xml"/>
  <Override PartName="/ppt/tags/tag103.xml" ContentType="application/vnd.openxmlformats-officedocument.presentationml.tags+xml"/>
  <Override PartName="/ppt/slideLayouts/slideLayout109.xml" ContentType="application/vnd.openxmlformats-officedocument.presentationml.slideLayout+xml"/>
  <Override PartName="/ppt/tags/tag150.xml" ContentType="application/vnd.openxmlformats-officedocument.presentationml.tags+xml"/>
  <Override PartName="/ppt/slideLayouts/slideLayout156.xml" ContentType="application/vnd.openxmlformats-officedocument.presentationml.slideLayout+xml"/>
  <Override PartName="/ppt/tags/tag248.xml" ContentType="application/vnd.openxmlformats-officedocument.presentationml.tags+xml"/>
  <Override PartName="/ppt/tags/tag295.xml" ContentType="application/vnd.openxmlformats-officedocument.presentationml.tags+xml"/>
  <Override PartName="/ppt/notesSlides/notesSlide1.xml" ContentType="application/vnd.openxmlformats-officedocument.presentationml.notesSlide+xml"/>
  <Override PartName="/ppt/slideLayouts/slideLayout56.xml" ContentType="application/vnd.openxmlformats-officedocument.presentationml.slideLayout+xml"/>
  <Override PartName="/ppt/tags/tag226.xml" ContentType="application/vnd.openxmlformats-officedocument.presentationml.tags+xml"/>
  <Override PartName="/ppt/tags/tag273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ags/tag412.xml" ContentType="application/vnd.openxmlformats-officedocument.presentationml.tags+xml"/>
  <Override PartName="/ppt/slides/slide13.xml" ContentType="application/vnd.openxmlformats-officedocument.presentationml.slide+xml"/>
  <Override PartName="/ppt/tags/tag48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slideLayouts/slideLayout112.xml" ContentType="application/vnd.openxmlformats-officedocument.presentationml.slideLayout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tags/tag349.xml" ContentType="application/vnd.openxmlformats-officedocument.presentationml.tags+xml"/>
  <Override PartName="/ppt/tags/tag39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327.xml" ContentType="application/vnd.openxmlformats-officedocument.presentationml.tags+xml"/>
  <Override PartName="/ppt/tags/tag374.xml" ContentType="application/vnd.openxmlformats-officedocument.presentationml.tags+xml"/>
  <Override PartName="/ppt/slideLayouts/slideLayout235.xml" ContentType="application/vnd.openxmlformats-officedocument.presentationml.slideLayout+xml"/>
  <Override PartName="/ppt/theme/theme17.xml" ContentType="application/vnd.openxmlformats-officedocument.theme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heme/theme9.xml" ContentType="application/vnd.openxmlformats-officedocument.theme+xml"/>
  <Override PartName="/ppt/tags/tag51.xml" ContentType="application/vnd.openxmlformats-officedocument.presentationml.tags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slideLayouts/slideLayout213.xml" ContentType="application/vnd.openxmlformats-officedocument.presentationml.slideLayout+xml"/>
  <Override PartName="/ppt/tags/tag352.xml" ContentType="application/vnd.openxmlformats-officedocument.presentationml.tags+xml"/>
  <Override PartName="/ppt/slideLayouts/slideLayout97.xml" ContentType="application/vnd.openxmlformats-officedocument.presentationml.slideLayout+xml"/>
  <Override PartName="/ppt/tags/tag144.xml" ContentType="application/vnd.openxmlformats-officedocument.presentationml.tags+xml"/>
  <Override PartName="/ppt/tags/tag191.xml" ContentType="application/vnd.openxmlformats-officedocument.presentationml.tags+xml"/>
  <Override PartName="/ppt/slideLayouts/slideLayout197.xml" ContentType="application/vnd.openxmlformats-officedocument.presentationml.slideLayout+xml"/>
  <Override PartName="/ppt/tags/tag330.xml" ContentType="application/vnd.openxmlformats-officedocument.presentationml.tags+xml"/>
  <Override PartName="/ppt/tags/tag122.xml" ContentType="application/vnd.openxmlformats-officedocument.presentationml.tags+xml"/>
  <Override PartName="/ppt/slideLayouts/slideLayout128.xml" ContentType="application/vnd.openxmlformats-officedocument.presentationml.slideLayout+xml"/>
  <Override PartName="/ppt/tags/tag267.xml" ContentType="application/vnd.openxmlformats-officedocument.presentationml.tags+xml"/>
  <Override PartName="/ppt/slideLayouts/slideLayout175.xml" ContentType="application/vnd.openxmlformats-officedocument.presentationml.slideLayout+xml"/>
  <Override PartName="/ppt/tags/tag406.xml" ContentType="application/vnd.openxmlformats-officedocument.presentationml.tags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89.xml" ContentType="application/vnd.openxmlformats-officedocument.presentationml.tags+xml"/>
  <Override PartName="/ppt/slideLayouts/slideLayout75.xml" ContentType="application/vnd.openxmlformats-officedocument.presentationml.slideLayout+xml"/>
  <Override PartName="/ppt/tags/tag245.xml" ContentType="application/vnd.openxmlformats-officedocument.presentationml.tags+xml"/>
  <Override PartName="/ppt/tags/tag292.xml" ContentType="application/vnd.openxmlformats-officedocument.presentationml.tags+xml"/>
  <Override PartName="/ppt/slideLayouts/slideLayout53.xml" ContentType="application/vnd.openxmlformats-officedocument.presentationml.slideLayout+xml"/>
  <Override PartName="/ppt/tags/tag100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ags/tag368.xml" ContentType="application/vnd.openxmlformats-officedocument.presentationml.tags+xml"/>
  <Override PartName="/ppt/tags/tag67.xml" ContentType="application/vnd.openxmlformats-officedocument.presentationml.tags+xml"/>
  <Override PartName="/ppt/slideLayouts/slideLayout131.xml" ContentType="application/vnd.openxmlformats-officedocument.presentationml.slideLayout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slideLayouts/slideLayout229.xml" ContentType="application/vnd.openxmlformats-officedocument.presentationml.slideLayout+xml"/>
  <Override PartName="/ppt/slideMasters/slideMaster15.xml" ContentType="application/vnd.openxmlformats-officedocument.presentationml.slideMaster+xml"/>
  <Override PartName="/ppt/slides/slide10.xml" ContentType="application/vnd.openxmlformats-officedocument.presentationml.slide+xml"/>
  <Override PartName="/ppt/slideLayouts/slideLayout31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201.xml" ContentType="application/vnd.openxmlformats-officedocument.presentationml.tags+xml"/>
  <Override PartName="/ppt/slideLayouts/slideLayout207.xml" ContentType="application/vnd.openxmlformats-officedocument.presentationml.slideLayout+xml"/>
  <Override PartName="/ppt/tags/tag346.xml" ContentType="application/vnd.openxmlformats-officedocument.presentationml.tags+xml"/>
  <Override PartName="/ppt/tags/tag393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heme/theme14.xml" ContentType="application/vnd.openxmlformats-officedocument.theme+xml"/>
  <Override PartName="/ppt/tags/tag324.xml" ContentType="application/vnd.openxmlformats-officedocument.presentationml.tags+xml"/>
  <Override PartName="/ppt/tags/tag371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63.xml" ContentType="application/vnd.openxmlformats-officedocument.presentationml.tags+xml"/>
  <Override PartName="/ppt/slideLayouts/slideLayout232.xml" ContentType="application/vnd.openxmlformats-officedocument.presentationml.slideLayout+xml"/>
  <Override PartName="/ppt/tags/tag9.xml" ContentType="application/vnd.openxmlformats-officedocument.presentationml.tags+xml"/>
  <Override PartName="/ppt/theme/theme6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169.xml" ContentType="application/vnd.openxmlformats-officedocument.presentationml.slideLayout+xml"/>
  <Override PartName="/ppt/tags/tag302.xml" ContentType="application/vnd.openxmlformats-officedocument.presentationml.tags+xml"/>
  <Override PartName="/ppt/slideLayouts/slideLayout210.xml" ContentType="application/vnd.openxmlformats-officedocument.presentationml.slideLayout+xml"/>
  <Default Extension="bin" ContentType="application/vnd.openxmlformats-officedocument.oleObject"/>
  <Override PartName="/ppt/tags/tag141.xml" ContentType="application/vnd.openxmlformats-officedocument.presentationml.tags+xml"/>
  <Override PartName="/ppt/slideLayouts/slideLayout147.xml" ContentType="application/vnd.openxmlformats-officedocument.presentationml.slideLayout+xml"/>
  <Override PartName="/ppt/tags/tag239.xml" ContentType="application/vnd.openxmlformats-officedocument.presentationml.tags+xml"/>
  <Override PartName="/ppt/tags/tag286.xml" ContentType="application/vnd.openxmlformats-officedocument.presentationml.tags+xml"/>
  <Override PartName="/ppt/slideLayouts/slideLayout194.xml" ContentType="application/vnd.openxmlformats-officedocument.presentationml.slideLayout+xml"/>
  <Override PartName="/ppt/tags/tag425.xml" ContentType="application/vnd.openxmlformats-officedocument.presentationml.tags+xml"/>
  <Override PartName="/ppt/slides/slide26.xml" ContentType="application/vnd.openxmlformats-officedocument.presentationml.slide+xml"/>
  <Override PartName="/ppt/slideLayouts/slideLayout47.xml" ContentType="application/vnd.openxmlformats-officedocument.presentationml.slideLayout+xml"/>
  <Override PartName="/ppt/slideLayouts/slideLayout94.xml" ContentType="application/vnd.openxmlformats-officedocument.presentationml.slideLayout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ags/tag387.xml" ContentType="application/vnd.openxmlformats-officedocument.presentationml.tags+xml"/>
  <Override PartName="/ppt/tags/tag403.xml" ContentType="application/vnd.openxmlformats-officedocument.presentationml.tags+xml"/>
  <Override PartName="/ppt/slideLayouts/slideLayout103.xml" ContentType="application/vnd.openxmlformats-officedocument.presentationml.slideLayout+xml"/>
  <Override PartName="/ppt/tags/tag179.xml" ContentType="application/vnd.openxmlformats-officedocument.presentationml.tags+xml"/>
  <Override PartName="/ppt/slideLayouts/slideLayout150.xml" ContentType="application/vnd.openxmlformats-officedocument.presentationml.slideLayout+xml"/>
  <Override PartName="/ppt/tags/tag242.xml" ContentType="application/vnd.openxmlformats-officedocument.presentationml.tags+xml"/>
  <Override PartName="/ppt/tags/tag17.xml" ContentType="application/vnd.openxmlformats-officedocument.presentationml.tags+xml"/>
  <Override PartName="/ppt/slideLayouts/slideLayout50.xml" ContentType="application/vnd.openxmlformats-officedocument.presentationml.slideLayout+xml"/>
  <Override PartName="/ppt/tags/tag64.xml" ContentType="application/vnd.openxmlformats-officedocument.presentationml.tags+xml"/>
  <Override PartName="/ppt/tags/tag220.xml" ContentType="application/vnd.openxmlformats-officedocument.presentationml.tags+xml"/>
  <Override PartName="/ppt/tags/tag318.xml" ContentType="application/vnd.openxmlformats-officedocument.presentationml.tags+xml"/>
  <Override PartName="/ppt/tags/tag365.xml" ContentType="application/vnd.openxmlformats-officedocument.presentationml.tags+xml"/>
  <Override PartName="/ppt/slideLayouts/slideLayout226.xml" ContentType="application/vnd.openxmlformats-officedocument.presentationml.slideLayout+xml"/>
  <Override PartName="/ppt/slideMasters/slideMaster9.xml" ContentType="application/vnd.openxmlformats-officedocument.presentationml.slideMaster+xml"/>
  <Override PartName="/ppt/slideMasters/slideMaster12.xml" ContentType="application/vnd.openxmlformats-officedocument.presentationml.slideMaster+xml"/>
  <Override PartName="/ppt/tags/tag157.xml" ContentType="application/vnd.openxmlformats-officedocument.presentationml.tags+xml"/>
  <Override PartName="/ppt/tags/tag343.xml" ContentType="application/vnd.openxmlformats-officedocument.presentationml.tags+xml"/>
  <Override PartName="/ppt/tags/tag390.xml" ContentType="application/vnd.openxmlformats-officedocument.presentationml.tags+xml"/>
  <Override PartName="/ppt/notesSlides/notesSlide8.xml" ContentType="application/vnd.openxmlformats-officedocument.presentationml.notesSlide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82.xml" ContentType="application/vnd.openxmlformats-officedocument.presentationml.tags+xml"/>
  <Override PartName="/ppt/slideLayouts/slideLayout188.xml" ContentType="application/vnd.openxmlformats-officedocument.presentationml.slideLayout+xml"/>
  <Override PartName="/ppt/slideLayouts/slideLayout204.xml" ContentType="application/vnd.openxmlformats-officedocument.presentationml.slideLayout+xml"/>
  <Override PartName="/ppt/diagrams/data3.xml" ContentType="application/vnd.openxmlformats-officedocument.drawingml.diagramData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ppt/tags/tag321.xml" ContentType="application/vnd.openxmlformats-officedocument.presentationml.tags+xml"/>
  <Override PartName="/ppt/tags/tag419.xml" ContentType="application/vnd.openxmlformats-officedocument.presentationml.tags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Layouts/slideLayout66.xml" ContentType="application/vnd.openxmlformats-officedocument.presentationml.slideLayout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slideLayouts/slideLayout119.xml" ContentType="application/vnd.openxmlformats-officedocument.presentationml.slideLayout+xml"/>
  <Override PartName="/ppt/tags/tag258.xml" ContentType="application/vnd.openxmlformats-officedocument.presentationml.tags+xml"/>
  <Override PartName="/ppt/slideLayouts/slideLayout166.xml" ContentType="application/vnd.openxmlformats-officedocument.presentationml.slideLayout+xml"/>
  <Override PartName="/ppt/diagrams/quickStyle4.xml" ContentType="application/vnd.openxmlformats-officedocument.drawingml.diagramStyle+xml"/>
  <Override PartName="/ppt/theme/theme3.xml" ContentType="application/vnd.openxmlformats-officedocument.theme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slideLayouts/slideLayout44.xml" ContentType="application/vnd.openxmlformats-officedocument.presentationml.slideLayout+xml"/>
  <Override PartName="/ppt/tags/tag58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ags/tag359.xml" ContentType="application/vnd.openxmlformats-officedocument.presentationml.tags+xml"/>
  <Override PartName="/ppt/tags/tag422.xml" ContentType="application/vnd.openxmlformats-officedocument.presentationml.tag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ags/tag198.xml" ContentType="application/vnd.openxmlformats-officedocument.presentationml.tags+xml"/>
  <Override PartName="/ppt/tags/tag214.xml" ContentType="application/vnd.openxmlformats-officedocument.presentationml.tags+xml"/>
  <Override PartName="/ppt/tags/tag261.xml" ContentType="application/vnd.openxmlformats-officedocument.presentationml.tags+xml"/>
  <Override PartName="/ppt/tags/tag400.xml" ContentType="application/vnd.openxmlformats-officedocument.presentationml.tags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337.xml" ContentType="application/vnd.openxmlformats-officedocument.presentationml.tags+xml"/>
  <Override PartName="/ppt/tags/tag384.xml" ContentType="application/vnd.openxmlformats-officedocument.presentationml.tags+xml"/>
  <Override PartName="/ppt/notesSlides/notesSlide14.xml" ContentType="application/vnd.openxmlformats-officedocument.presentationml.notesSlide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61.xml" ContentType="application/vnd.openxmlformats-officedocument.presentationml.tags+xml"/>
  <Override PartName="/ppt/tags/tag129.xml" ContentType="application/vnd.openxmlformats-officedocument.presentationml.tags+xml"/>
  <Override PartName="/ppt/slideLayouts/slideLayout100.xml" ContentType="application/vnd.openxmlformats-officedocument.presentationml.slideLayout+xml"/>
  <Override PartName="/ppt/tags/tag176.xml" ContentType="application/vnd.openxmlformats-officedocument.presentationml.tags+xml"/>
  <Override PartName="/ppt/tags/tag315.xml" ContentType="application/vnd.openxmlformats-officedocument.presentationml.tags+xml"/>
  <Override PartName="/ppt/tags/tag362.xml" ContentType="application/vnd.openxmlformats-officedocument.presentationml.tags+xml"/>
  <Override PartName="/ppt/slideMasters/slideMaster6.xml" ContentType="application/vnd.openxmlformats-officedocument.presentationml.slideMaster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slideLayouts/slideLayout223.xml" ContentType="application/vnd.openxmlformats-officedocument.presentationml.slideLayout+xml"/>
  <Override PartName="/ppt/tags/tag277.xml" ContentType="application/vnd.openxmlformats-officedocument.presentationml.tags+xml"/>
  <Override PartName="/ppt/slideLayouts/slideLayout201.xml" ContentType="application/vnd.openxmlformats-officedocument.presentationml.slideLayout+xml"/>
  <Override PartName="/ppt/tags/tag34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slideLayouts/slideLayout38.xml" ContentType="application/vnd.openxmlformats-officedocument.presentationml.slideLayout+xml"/>
  <Override PartName="/ppt/slideLayouts/slideLayout85.xml" ContentType="application/vnd.openxmlformats-officedocument.presentationml.slideLayout+xml"/>
  <Override PartName="/ppt/tags/tag132.xml" ContentType="application/vnd.openxmlformats-officedocument.presentationml.tags+xml"/>
  <Override PartName="/ppt/slideLayouts/slideLayout138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ags/tag416.xml" ContentType="application/vnd.openxmlformats-officedocument.presentationml.tags+xml"/>
  <Override PartName="/ppt/diagrams/colors2.xml" ContentType="application/vnd.openxmlformats-officedocument.drawingml.diagramColors+xml"/>
  <Override PartName="/ppt/slides/slide17.xml" ContentType="application/vnd.openxmlformats-officedocument.presentationml.slide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slideLayouts/slideLayout116.xml" ContentType="application/vnd.openxmlformats-officedocument.presentationml.slideLayout+xml"/>
  <Override PartName="/ppt/tags/tag208.xml" ContentType="application/vnd.openxmlformats-officedocument.presentationml.tags+xml"/>
  <Override PartName="/ppt/slideLayouts/slideLayout163.xml" ContentType="application/vnd.openxmlformats-officedocument.presentationml.slideLayout+xml"/>
  <Override PartName="/ppt/tags/tag255.xml" ContentType="application/vnd.openxmlformats-officedocument.presentationml.tag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slideLayouts/slideLayout63.xml" ContentType="application/vnd.openxmlformats-officedocument.presentationml.slideLayout+xml"/>
  <Override PartName="/ppt/tags/tag233.xml" ContentType="application/vnd.openxmlformats-officedocument.presentationml.tags+xml"/>
  <Override PartName="/ppt/tags/tag280.xml" ContentType="application/vnd.openxmlformats-officedocument.presentationml.tags+xml"/>
  <Override PartName="/ppt/tags/tag378.xml" ContentType="application/vnd.openxmlformats-officedocument.presentationml.tags+xml"/>
  <Override PartName="/ppt/diagrams/quickStyle1.xml" ContentType="application/vnd.openxmlformats-officedocument.drawingml.diagramStyle+xml"/>
  <Override PartName="/ppt/slideLayouts/slideLayout41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s/slide20.xml" ContentType="application/vnd.openxmlformats-officedocument.presentationml.slide+xml"/>
  <Override PartName="/ppt/tags/tag55.xml" ContentType="application/vnd.openxmlformats-officedocument.presentationml.tags+xml"/>
  <Override PartName="/ppt/tags/tag211.xml" ContentType="application/vnd.openxmlformats-officedocument.presentationml.tags+xml"/>
  <Override PartName="/ppt/tags/tag309.xml" ContentType="application/vnd.openxmlformats-officedocument.presentationml.tags+xml"/>
  <Override PartName="/ppt/tags/tag356.xml" ContentType="application/vnd.openxmlformats-officedocument.presentationml.tags+xml"/>
  <Override PartName="/ppt/slideLayouts/slideLayout217.xml" ContentType="application/vnd.openxmlformats-officedocument.presentationml.slideLayout+xml"/>
  <Override PartName="/ppt/diagrams/layout4.xml" ContentType="application/vnd.openxmlformats-officedocument.drawingml.diagramLayout+xml"/>
  <Override PartName="/ppt/tags/tag33.xml" ContentType="application/vnd.openxmlformats-officedocument.presentationml.tags+xml"/>
  <Override PartName="/ppt/tags/tag80.xml" ContentType="application/vnd.openxmlformats-officedocument.presentationml.tags+xml"/>
  <Override PartName="/ppt/tags/tag148.xml" ContentType="application/vnd.openxmlformats-officedocument.presentationml.tags+xml"/>
  <Override PartName="/ppt/tags/tag195.xml" ContentType="application/vnd.openxmlformats-officedocument.presentationml.tags+xml"/>
  <Override PartName="/ppt/tags/tag334.xml" ContentType="application/vnd.openxmlformats-officedocument.presentationml.tags+xml"/>
  <Override PartName="/ppt/tags/tag381.xml" ContentType="application/vnd.openxmlformats-officedocument.presentationml.tags+xml"/>
  <Override PartName="/ppt/notesSlides/notesSlide11.xml" ContentType="application/vnd.openxmlformats-officedocument.presentationml.notesSlide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slideLayouts/slideLayout179.xml" ContentType="application/vnd.openxmlformats-officedocument.presentationml.slideLayout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slideLayouts/slideLayout79.xml" ContentType="application/vnd.openxmlformats-officedocument.presentationml.slideLayout+xml"/>
  <Override PartName="/ppt/tags/tag249.xml" ContentType="application/vnd.openxmlformats-officedocument.presentationml.tags+xml"/>
  <Override PartName="/ppt/tags/tag296.xml" ContentType="application/vnd.openxmlformats-officedocument.presentationml.tags+xml"/>
  <Override PartName="/ppt/tags/tag312.xml" ContentType="application/vnd.openxmlformats-officedocument.presentationml.tags+xml"/>
  <Override PartName="/ppt/slideLayouts/slideLayout220.xml" ContentType="application/vnd.openxmlformats-officedocument.presentationml.slideLayout+xml"/>
  <Override PartName="/ppt/slideMasters/slideMaster3.xml" ContentType="application/vnd.openxmlformats-officedocument.presentationml.slideMaster+xml"/>
  <Override PartName="/ppt/slideLayouts/slideLayout57.xml" ContentType="application/vnd.openxmlformats-officedocument.presentationml.slideLayout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slideLayouts/slideLayout157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135.xml" ContentType="application/vnd.openxmlformats-officedocument.presentationml.slideLayout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slideLayouts/slideLayout182.xml" ContentType="application/vnd.openxmlformats-officedocument.presentationml.slideLayout+xml"/>
  <Override PartName="/ppt/tags/tag413.xml" ContentType="application/vnd.openxmlformats-officedocument.presentationml.tags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Override PartName="/ppt/slideLayouts/slideLayout82.xml" ContentType="application/vnd.openxmlformats-officedocument.presentationml.slideLayout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tags/tag397.xml" ContentType="application/vnd.openxmlformats-officedocument.presentationml.tag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ags/tag189.xml" ContentType="application/vnd.openxmlformats-officedocument.presentationml.tags+xml"/>
  <Override PartName="/ppt/slideLayouts/slideLayout160.xml" ContentType="application/vnd.openxmlformats-officedocument.presentationml.slideLayout+xml"/>
  <Override PartName="/ppt/theme/theme18.xml" ContentType="application/vnd.openxmlformats-officedocument.theme+xml"/>
  <Override PartName="/ppt/theme/themeOverride1.xml" ContentType="application/vnd.openxmlformats-officedocument.themeOverride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28.xml" ContentType="application/vnd.openxmlformats-officedocument.presentationml.tags+xml"/>
  <Override PartName="/ppt/tags/tag375.xml" ContentType="application/vnd.openxmlformats-officedocument.presentationml.tags+xml"/>
  <Override PartName="/ppt/slideLayouts/slideLayout236.xml" ContentType="application/vnd.openxmlformats-officedocument.presentationml.slideLayout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353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slideLayouts/slideLayout198.xml" ContentType="application/vnd.openxmlformats-officedocument.presentationml.slideLayout+xml"/>
  <Override PartName="/ppt/slideLayouts/slideLayout214.xml" ContentType="application/vnd.openxmlformats-officedocument.presentationml.slideLayout+xml"/>
  <Override PartName="/ppt/diagrams/layout1.xml" ContentType="application/vnd.openxmlformats-officedocument.drawingml.diagramLayout+xml"/>
  <Override PartName="/ppt/tags/tag30.xml" ContentType="application/vnd.openxmlformats-officedocument.presentationml.tags+xml"/>
  <Override PartName="/ppt/slideLayouts/slideLayout98.xml" ContentType="application/vnd.openxmlformats-officedocument.presentationml.slideLayout+xml"/>
  <Override PartName="/ppt/tags/tag268.xml" ContentType="application/vnd.openxmlformats-officedocument.presentationml.tags+xml"/>
  <Override PartName="/ppt/tags/tag331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76.xml" ContentType="application/vnd.openxmlformats-officedocument.presentationml.slideLayout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ags/tag407.xml" ContentType="application/vnd.openxmlformats-officedocument.presentationml.tags+xml"/>
  <Override PartName="/ppt/diagrams/drawing3.xml" ContentType="application/vnd.ms-office.drawingml.diagramDrawing+xml"/>
  <Override PartName="/ppt/tags/tag101.xml" ContentType="application/vnd.openxmlformats-officedocument.presentationml.tags+xml"/>
  <Override PartName="/ppt/slideLayouts/slideLayout107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ags/tag246.xml" ContentType="application/vnd.openxmlformats-officedocument.presentationml.tags+xml"/>
  <Override PartName="/ppt/tags/tag293.xml" ContentType="application/vnd.openxmlformats-officedocument.presentationml.tags+xml"/>
  <Override PartName="/ppt/slideLayouts/slideLayout54.xml" ContentType="application/vnd.openxmlformats-officedocument.presentationml.slideLayout+xml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71.xml" ContentType="application/vnd.openxmlformats-officedocument.presentationml.tags+xml"/>
  <Override PartName="/ppt/tags/tag369.xml" ContentType="application/vnd.openxmlformats-officedocument.presentationml.tags+xml"/>
  <Override PartName="/ppt/presentation.xml" ContentType="application/vnd.openxmlformats-officedocument.presentationml.presentation.main+xml"/>
  <Override PartName="/ppt/slideMasters/slideMaster16.xml" ContentType="application/vnd.openxmlformats-officedocument.presentationml.slideMaster+xml"/>
  <Override PartName="/ppt/slideLayouts/slideLayout32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ags/tag347.xml" ContentType="application/vnd.openxmlformats-officedocument.presentationml.tags+xml"/>
  <Override PartName="/ppt/tags/tag394.xml" ContentType="application/vnd.openxmlformats-officedocument.presentationml.tags+xml"/>
  <Override PartName="/ppt/tags/tag410.xml" ContentType="application/vnd.openxmlformats-officedocument.presentationml.tags+xml"/>
  <Override PartName="/docProps/app.xml" ContentType="application/vnd.openxmlformats-officedocument.extended-properties+xml"/>
  <Override PartName="/ppt/charts/colors3.xml" ContentType="application/vnd.ms-office.chartcolorstyle+xml"/>
  <Override PartName="/ppt/slides/slide11.xml" ContentType="application/vnd.openxmlformats-officedocument.presentationml.slide+xml"/>
  <Override PartName="/ppt/tags/tag46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slideLayouts/slideLayout110.xml" ContentType="application/vnd.openxmlformats-officedocument.presentationml.slideLayout+xml"/>
  <Override PartName="/ppt/tags/tag186.xml" ContentType="application/vnd.openxmlformats-officedocument.presentationml.tags+xml"/>
  <Override PartName="/ppt/tags/tag202.xml" ContentType="application/vnd.openxmlformats-officedocument.presentationml.tags+xml"/>
  <Override PartName="/ppt/slideLayouts/slideLayout208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heme/theme15.xml" ContentType="application/vnd.openxmlformats-officedocument.theme+xml"/>
  <Override PartName="/ppt/tags/tag325.xml" ContentType="application/vnd.openxmlformats-officedocument.presentationml.tags+xml"/>
  <Override PartName="/ppt/tags/tag372.xml" ContentType="application/vnd.openxmlformats-officedocument.presentationml.tags+xml"/>
  <Override PartName="/ppt/slideLayouts/slideLayout233.xml" ContentType="application/vnd.openxmlformats-officedocument.presentationml.slideLayout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heme/theme7.xml" ContentType="application/vnd.openxmlformats-officedocument.theme+xml"/>
  <Override PartName="/ppt/tags/tag142.xml" ContentType="application/vnd.openxmlformats-officedocument.presentationml.tags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slideLayouts/slideLayout211.xml" ContentType="application/vnd.openxmlformats-officedocument.presentationml.slideLayout+xml"/>
  <Override PartName="/ppt/tags/tag350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20.xml" ContentType="application/vnd.openxmlformats-officedocument.presentationml.tags+xml"/>
  <Override PartName="/ppt/slideLayouts/slideLayout126.xml" ContentType="application/vnd.openxmlformats-officedocument.presentationml.slideLayout+xml"/>
  <Override PartName="/ppt/tags/tag218.xml" ContentType="application/vnd.openxmlformats-officedocument.presentationml.tags+xml"/>
  <Override PartName="/ppt/tags/tag265.xml" ContentType="application/vnd.openxmlformats-officedocument.presentationml.tags+xml"/>
  <Override PartName="/ppt/slideLayouts/slideLayout173.xml" ContentType="application/vnd.openxmlformats-officedocument.presentationml.slideLayout+xml"/>
  <Override PartName="/ppt/tags/tag404.xml" ContentType="application/vnd.openxmlformats-officedocument.presentationml.tags+xml"/>
  <Override PartName="/ppt/slides/slide2.xml" ContentType="application/vnd.openxmlformats-officedocument.presentationml.slide+xml"/>
  <Override PartName="/ppt/slideLayouts/slideLayout26.xml" ContentType="application/vnd.openxmlformats-officedocument.presentationml.slideLayout+xml"/>
  <Override PartName="/ppt/tags/tag87.xml" ContentType="application/vnd.openxmlformats-officedocument.presentationml.tags+xml"/>
  <Override PartName="/ppt/slideLayouts/slideLayout73.xml" ContentType="application/vnd.openxmlformats-officedocument.presentationml.slideLayout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tags/tag388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ags/tag319.xml" ContentType="application/vnd.openxmlformats-officedocument.presentationml.tags+xml"/>
  <Override PartName="/ppt/tags/tag366.xml" ContentType="application/vnd.openxmlformats-officedocument.presentationml.tags+xml"/>
  <Override PartName="/ppt/tags/tag18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221.xml" ContentType="application/vnd.openxmlformats-officedocument.presentationml.tags+xml"/>
  <Override PartName="/ppt/slideLayouts/slideLayout227.xml" ContentType="application/vnd.openxmlformats-officedocument.presentationml.slideLayout+xml"/>
  <Override PartName="/ppt/slideMasters/slideMaster13.xml" ContentType="application/vnd.openxmlformats-officedocument.presentationml.slideMaster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slideLayouts/slideLayout205.xml" ContentType="application/vnd.openxmlformats-officedocument.presentationml.slideLayout+xml"/>
  <Override PartName="/ppt/tags/tag344.xml" ContentType="application/vnd.openxmlformats-officedocument.presentationml.tags+xml"/>
  <Override PartName="/ppt/tags/tag391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4.xml" ContentType="application/vnd.openxmlformats-officedocument.drawingml.diagramData+xml"/>
  <Override PartName="/ppt/tags/tag136.xml" ContentType="application/vnd.openxmlformats-officedocument.presentationml.tags+xml"/>
  <Override PartName="/ppt/slideLayouts/slideLayout89.xml" ContentType="application/vnd.openxmlformats-officedocument.presentationml.slideLayout+xml"/>
  <Override PartName="/ppt/tags/tag183.xml" ContentType="application/vnd.openxmlformats-officedocument.presentationml.tags+xml"/>
  <Override PartName="/ppt/theme/theme12.xml" ContentType="application/vnd.openxmlformats-officedocument.theme+xml"/>
  <Override PartName="/ppt/slideLayouts/slideLayout189.xml" ContentType="application/vnd.openxmlformats-officedocument.presentationml.slideLayout+xml"/>
  <Override PartName="/ppt/tags/tag322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61.xml" ContentType="application/vnd.openxmlformats-officedocument.presentationml.tags+xml"/>
  <Override PartName="/ppt/tags/tag259.xml" ContentType="application/vnd.openxmlformats-officedocument.presentationml.tags+xml"/>
  <Override PartName="/ppt/slideLayouts/slideLayout230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ags/tag300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ags/tag237.xml" ContentType="application/vnd.openxmlformats-officedocument.presentationml.tags+xml"/>
  <Override PartName="/ppt/tags/tag284.xml" ContentType="application/vnd.openxmlformats-officedocument.presentationml.tags+xml"/>
  <Override PartName="/ppt/slideLayouts/slideLayout192.xml" ContentType="application/vnd.openxmlformats-officedocument.presentationml.slideLayout+xml"/>
  <Override PartName="/ppt/tags/tag423.xml" ContentType="application/vnd.openxmlformats-officedocument.presentationml.tags+xml"/>
  <Override PartName="/ppt/slides/slide24.xml" ContentType="application/vnd.openxmlformats-officedocument.presentationml.slide+xml"/>
  <Override PartName="/ppt/tags/tag59.xml" ContentType="application/vnd.openxmlformats-officedocument.presentationml.tags+xml"/>
  <Override PartName="/ppt/slideLayouts/slideLayout92.xml" ContentType="application/vnd.openxmlformats-officedocument.presentationml.slideLayout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37.xml" ContentType="application/vnd.openxmlformats-officedocument.presentationml.tags+xml"/>
  <Override PartName="/ppt/tags/tag84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ags/tag199.xml" ContentType="application/vnd.openxmlformats-officedocument.presentationml.tags+xml"/>
  <Override PartName="/ppt/slideLayouts/slideLayout170.xml" ContentType="application/vnd.openxmlformats-officedocument.presentationml.slideLayout+xml"/>
  <Override PartName="/ppt/tags/tag338.xml" ContentType="application/vnd.openxmlformats-officedocument.presentationml.tags+xml"/>
  <Override PartName="/ppt/tags/tag385.xml" ContentType="application/vnd.openxmlformats-officedocument.presentationml.tags+xml"/>
  <Override PartName="/ppt/tags/tag401.xml" ContentType="application/vnd.openxmlformats-officedocument.presentationml.tags+xml"/>
  <Override PartName="/ppt/notesSlides/notesSlide15.xml" ContentType="application/vnd.openxmlformats-officedocument.presentationml.notesSlide+xml"/>
  <Override PartName="/ppt/slideLayouts/slideLayout101.xml" ContentType="application/vnd.openxmlformats-officedocument.presentationml.slideLayout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316.xml" ContentType="application/vnd.openxmlformats-officedocument.presentationml.tags+xml"/>
  <Override PartName="/ppt/tags/tag363.xml" ContentType="application/vnd.openxmlformats-officedocument.presentationml.tags+xml"/>
  <Override PartName="/ppt/slideLayouts/slideLayout224.xml" ContentType="application/vnd.openxmlformats-officedocument.presentationml.slideLayout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tags/tag40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tags/tag341.xml" ContentType="application/vnd.openxmlformats-officedocument.presentationml.tags+xml"/>
  <Override PartName="/ppt/notesSlides/notesSlide6.xml" ContentType="application/vnd.openxmlformats-officedocument.presentationml.notesSlide+xml"/>
  <Override PartName="/ppt/tags/tag133.xml" ContentType="application/vnd.openxmlformats-officedocument.presentationml.tags+xml"/>
  <Override PartName="/ppt/tags/tag180.xml" ContentType="application/vnd.openxmlformats-officedocument.presentationml.tags+xml"/>
  <Override PartName="/ppt/slideLayouts/slideLayout139.xml" ContentType="application/vnd.openxmlformats-officedocument.presentationml.slideLayout+xml"/>
  <Override PartName="/ppt/tags/tag278.xml" ContentType="application/vnd.openxmlformats-officedocument.presentationml.tags+xml"/>
  <Override PartName="/ppt/slideLayouts/slideLayout186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ags/tag417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charts/chart2.xml" ContentType="application/vnd.openxmlformats-officedocument.drawingml.chart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slides/slide18.xml" ContentType="application/vnd.openxmlformats-officedocument.presentationml.slide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Layouts/slideLayout64.xml" ContentType="application/vnd.openxmlformats-officedocument.presentationml.slideLayout+xml"/>
  <Override PartName="/ppt/tags/tag111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64.xml" ContentType="application/vnd.openxmlformats-officedocument.presentationml.slideLayout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234.xml" ContentType="application/vnd.openxmlformats-officedocument.presentationml.tags+xml"/>
  <Override PartName="/ppt/slideLayouts/slideLayout142.xml" ContentType="application/vnd.openxmlformats-officedocument.presentationml.slideLayout+xml"/>
  <Override PartName="/ppt/tags/tag281.xml" ContentType="application/vnd.openxmlformats-officedocument.presentationml.tags+xml"/>
  <Override PartName="/ppt/tags/tag379.xml" ContentType="application/vnd.openxmlformats-officedocument.presentationml.tags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tags/tag357.xml" ContentType="application/vnd.openxmlformats-officedocument.presentationml.tags+xml"/>
  <Override PartName="/ppt/tags/tag420.xml" ContentType="application/vnd.openxmlformats-officedocument.presentationml.tags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tags/tag149.xml" ContentType="application/vnd.openxmlformats-officedocument.presentationml.tags+xml"/>
  <Override PartName="/ppt/slideLayouts/slideLayout120.xml" ContentType="application/vnd.openxmlformats-officedocument.presentationml.slideLayout+xml"/>
  <Override PartName="/ppt/tags/tag196.xml" ContentType="application/vnd.openxmlformats-officedocument.presentationml.tags+xml"/>
  <Override PartName="/ppt/tags/tag212.xml" ContentType="application/vnd.openxmlformats-officedocument.presentationml.tags+xml"/>
  <Override PartName="/ppt/slideLayouts/slideLayout218.xml" ContentType="application/vnd.openxmlformats-officedocument.presentationml.slideLayout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335.xml" ContentType="application/vnd.openxmlformats-officedocument.presentationml.tags+xml"/>
  <Override PartName="/ppt/tags/tag382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127.xml" ContentType="application/vnd.openxmlformats-officedocument.presentationml.tags+xml"/>
  <Override PartName="/ppt/tags/tag174.xml" ContentType="application/vnd.openxmlformats-officedocument.presentationml.tags+xml"/>
  <Override PartName="/ppt/tags/tag313.xml" ContentType="application/vnd.openxmlformats-officedocument.presentationml.tags+xml"/>
  <Override PartName="/ppt/tags/tag360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slideLayouts/slideLayout158.xml" ContentType="application/vnd.openxmlformats-officedocument.presentationml.slideLayout+xml"/>
  <Override PartName="/ppt/tags/tag297.xml" ContentType="application/vnd.openxmlformats-officedocument.presentationml.tags+xml"/>
  <Override PartName="/ppt/slideLayouts/slideLayout221.xml" ContentType="application/vnd.openxmlformats-officedocument.presentationml.slideLayout+xml"/>
  <Override PartName="/ppt/slideLayouts/slideLayout58.xml" ContentType="application/vnd.openxmlformats-officedocument.presentationml.slideLayout+xml"/>
  <Override PartName="/ppt/tags/tag228.xml" ContentType="application/vnd.openxmlformats-officedocument.presentationml.tags+xml"/>
  <Override PartName="/ppt/tags/tag275.xml" ContentType="application/vnd.openxmlformats-officedocument.presentationml.tags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83.xml" ContentType="application/vnd.openxmlformats-officedocument.presentationml.slideLayout+xml"/>
  <Override PartName="/ppt/tags/tag130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183.xml" ContentType="application/vnd.openxmlformats-officedocument.presentationml.slideLayout+xml"/>
  <Override PartName="/ppt/tags/tag414.xml" ContentType="application/vnd.openxmlformats-officedocument.presentationml.tags+xml"/>
  <Override PartName="/ppt/slides/slide15.xml" ContentType="application/vnd.openxmlformats-officedocument.presentationml.slide+xml"/>
  <Override PartName="/ppt/tags/tag97.xml" ContentType="application/vnd.openxmlformats-officedocument.presentationml.tags+xml"/>
  <Override PartName="/ppt/slideLayouts/slideLayout114.xml" ContentType="application/vnd.openxmlformats-officedocument.presentationml.slideLayout+xml"/>
  <Override PartName="/ppt/tags/tag206.xml" ContentType="application/vnd.openxmlformats-officedocument.presentationml.tags+xml"/>
  <Override PartName="/ppt/slideLayouts/slideLayout161.xml" ContentType="application/vnd.openxmlformats-officedocument.presentationml.slideLayout+xml"/>
  <Override PartName="/ppt/tags/tag253.xml" ContentType="application/vnd.openxmlformats-officedocument.presentationml.tags+xml"/>
  <Override PartName="/ppt/tags/tag398.xml" ContentType="application/vnd.openxmlformats-officedocument.presentationml.tags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slideLayouts/slideLayout61.xml" ContentType="application/vnd.openxmlformats-officedocument.presentationml.slideLayout+xml"/>
  <Override PartName="/ppt/tags/tag75.xml" ContentType="application/vnd.openxmlformats-officedocument.presentationml.tags+xml"/>
  <Override PartName="/ppt/tags/tag231.xml" ContentType="application/vnd.openxmlformats-officedocument.presentationml.tags+xml"/>
  <Override PartName="/ppt/tags/tag329.xml" ContentType="application/vnd.openxmlformats-officedocument.presentationml.tags+xml"/>
  <Override PartName="/ppt/tags/tag376.xml" ContentType="application/vnd.openxmlformats-officedocument.presentationml.tags+xml"/>
  <Override PartName="/ppt/theme/theme19.xml" ContentType="application/vnd.openxmlformats-officedocument.theme+xml"/>
  <Override PartName="/ppt/tags/tag168.xml" ContentType="application/vnd.openxmlformats-officedocument.presentationml.tags+xml"/>
  <Override PartName="/ppt/slideLayouts/slideLayout237.xml" ContentType="application/vnd.openxmlformats-officedocument.presentationml.slideLayout+xml"/>
  <Default Extension="vml" ContentType="application/vnd.openxmlformats-officedocument.vmlDrawing"/>
  <Override PartName="/ppt/tags/tag53.xml" ContentType="application/vnd.openxmlformats-officedocument.presentationml.tags+xml"/>
  <Override PartName="/ppt/tags/tag307.xml" ContentType="application/vnd.openxmlformats-officedocument.presentationml.tags+xml"/>
  <Override PartName="/ppt/tags/tag354.xml" ContentType="application/vnd.openxmlformats-officedocument.presentationml.tags+xml"/>
  <Override PartName="/ppt/slideLayouts/slideLayout215.xml" ContentType="application/vnd.openxmlformats-officedocument.presentationml.slideLayout+xml"/>
  <Override PartName="/ppt/diagrams/layout2.xml" ContentType="application/vnd.openxmlformats-officedocument.drawingml.diagramLayout+xml"/>
  <Override PartName="/ppt/tags/tag31.xml" ContentType="application/vnd.openxmlformats-officedocument.presentationml.tags+xml"/>
  <Override PartName="/ppt/slideLayouts/slideLayout99.xml" ContentType="application/vnd.openxmlformats-officedocument.presentationml.slideLayout+xml"/>
  <Override PartName="/ppt/tags/tag146.xml" ContentType="application/vnd.openxmlformats-officedocument.presentationml.tags+xml"/>
  <Override PartName="/ppt/tags/tag193.xml" ContentType="application/vnd.openxmlformats-officedocument.presentationml.tags+xml"/>
  <Override PartName="/ppt/slideLayouts/slideLayout199.xml" ContentType="application/vnd.openxmlformats-officedocument.presentationml.slideLayout+xml"/>
  <Override PartName="/ppt/tags/tag332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slideLayouts/slideLayout177.xml" ContentType="application/vnd.openxmlformats-officedocument.presentationml.slideLayout+xml"/>
  <Override PartName="/ppt/tags/tag408.xml" ContentType="application/vnd.openxmlformats-officedocument.presentationml.tags+xml"/>
  <Override PartName="/ppt/diagrams/drawing4.xml" ContentType="application/vnd.ms-office.drawingml.diagramDrawing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77.xml" ContentType="application/vnd.openxmlformats-officedocument.presentationml.slideLayout+xml"/>
  <Override PartName="/ppt/tags/tag247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55.xml" ContentType="application/vnd.openxmlformats-officedocument.presentationml.slideLayout+xml"/>
  <Override PartName="/ppt/tags/tag102.xml" ContentType="application/vnd.openxmlformats-officedocument.presentationml.tags+xml"/>
  <Override PartName="/ppt/slideLayouts/slideLayout108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ags/tag69.xml" ContentType="application/vnd.openxmlformats-officedocument.presentationml.tags+xml"/>
  <Override PartName="/ppt/slideLayouts/slideLayout133.xml" ContentType="application/vnd.openxmlformats-officedocument.presentationml.slideLayout+xml"/>
  <Override PartName="/ppt/tags/tag225.xml" ContentType="application/vnd.openxmlformats-officedocument.presentationml.tags+xml"/>
  <Override PartName="/ppt/tags/tag272.xml" ContentType="application/vnd.openxmlformats-officedocument.presentationml.tags+xml"/>
  <Override PartName="/ppt/slideLayouts/slideLayout180.xml" ContentType="application/vnd.openxmlformats-officedocument.presentationml.slideLayout+xml"/>
  <Override PartName="/ppt/tags/tag411.xml" ContentType="application/vnd.openxmlformats-officedocument.presentationml.tags+xml"/>
  <Default Extension="rels" ContentType="application/vnd.openxmlformats-package.relationships+xml"/>
  <Override PartName="/ppt/slideMasters/slideMaster17.xml" ContentType="application/vnd.openxmlformats-officedocument.presentationml.slideMaster+xml"/>
  <Override PartName="/ppt/tags/tag47.xml" ContentType="application/vnd.openxmlformats-officedocument.presentationml.tags+xml"/>
  <Override PartName="/ppt/slideLayouts/slideLayout33.xml" ContentType="application/vnd.openxmlformats-officedocument.presentationml.slideLayout+xml"/>
  <Override PartName="/ppt/tags/tag94.xml" ContentType="application/vnd.openxmlformats-officedocument.presentationml.tags+xml"/>
  <Override PartName="/ppt/slideLayouts/slideLayout80.xml" ContentType="application/vnd.openxmlformats-officedocument.presentationml.slideLayout+xml"/>
  <Override PartName="/ppt/tags/tag203.xml" ContentType="application/vnd.openxmlformats-officedocument.presentationml.tags+xml"/>
  <Override PartName="/ppt/tags/tag250.xml" ContentType="application/vnd.openxmlformats-officedocument.presentationml.tags+xml"/>
  <Override PartName="/ppt/slideLayouts/slideLayout209.xml" ContentType="application/vnd.openxmlformats-officedocument.presentationml.slideLayout+xml"/>
  <Override PartName="/ppt/tags/tag348.xml" ContentType="application/vnd.openxmlformats-officedocument.presentationml.tags+xml"/>
  <Override PartName="/ppt/tags/tag395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7.xml" ContentType="application/vnd.openxmlformats-officedocument.presentationml.tags+xml"/>
  <Override PartName="/ppt/slideLayouts/slideLayout111.xml" ContentType="application/vnd.openxmlformats-officedocument.presentationml.slideLayout+xml"/>
  <Override PartName="/ppt/theme/theme16.xml" ContentType="application/vnd.openxmlformats-officedocument.theme+xml"/>
  <Override PartName="/ppt/tags/tag25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65.xml" ContentType="application/vnd.openxmlformats-officedocument.presentationml.tags+xml"/>
  <Override PartName="/ppt/tags/tag326.xml" ContentType="application/vnd.openxmlformats-officedocument.presentationml.tags+xml"/>
  <Override PartName="/ppt/tags/tag373.xml" ContentType="application/vnd.openxmlformats-officedocument.presentationml.tags+xml"/>
  <Override PartName="/ppt/slideLayouts/slideLayout234.xml" ContentType="application/vnd.openxmlformats-officedocument.presentationml.slideLayout+xml"/>
  <Override PartName="/ppt/theme/theme8.xml" ContentType="application/vnd.openxmlformats-officedocument.theme+xml"/>
  <Override PartName="/ppt/tags/tag50.xml" ContentType="application/vnd.openxmlformats-officedocument.presentationml.tags+xml"/>
  <Override PartName="/ppt/tags/tag304.xml" ContentType="application/vnd.openxmlformats-officedocument.presentationml.tags+xml"/>
  <Override PartName="/ppt/tags/tag351.xml" ContentType="application/vnd.openxmlformats-officedocument.presentationml.tags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slideLayouts/slideLayout149.xml" ContentType="application/vnd.openxmlformats-officedocument.presentationml.slideLayout+xml"/>
  <Override PartName="/ppt/tags/tag288.xml" ContentType="application/vnd.openxmlformats-officedocument.presentationml.tags+xml"/>
  <Override PartName="/ppt/slideLayouts/slideLayout196.xml" ContentType="application/vnd.openxmlformats-officedocument.presentationml.slideLayout+xml"/>
  <Override PartName="/ppt/slideLayouts/slideLayout212.xml" ContentType="application/vnd.openxmlformats-officedocument.presentationml.slideLayout+xml"/>
  <Override PartName="/ppt/charts/style3.xml" ContentType="application/vnd.ms-office.chartstyle+xml"/>
  <Override PartName="/ppt/slideLayouts/slideLayout49.xml" ContentType="application/vnd.openxmlformats-officedocument.presentationml.slideLayout+xml"/>
  <Override PartName="/ppt/slideLayouts/slideLayout96.xml" ContentType="application/vnd.openxmlformats-officedocument.presentationml.slideLayout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74.xml" ContentType="application/vnd.openxmlformats-officedocument.presentationml.slideLayout+xml"/>
  <Override PartName="/ppt/tags/tag121.xml" ContentType="application/vnd.openxmlformats-officedocument.presentationml.tags+xml"/>
  <Override PartName="/ppt/slideLayouts/slideLayout127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ags/tag389.xml" ContentType="application/vnd.openxmlformats-officedocument.presentationml.tags+xml"/>
  <Override PartName="/ppt/tags/tag405.xml" ContentType="application/vnd.openxmlformats-officedocument.presentationml.tags+xml"/>
  <Override PartName="/ppt/diagrams/drawing1.xml" ContentType="application/vnd.ms-office.drawingml.diagramDrawing+xml"/>
  <Default Extension="jpeg" ContentType="image/jpeg"/>
  <Override PartName="/ppt/tags/tag88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ags/tag244.xml" ContentType="application/vnd.openxmlformats-officedocument.presentationml.tags+xml"/>
  <Override PartName="/ppt/tags/tag291.xml" ContentType="application/vnd.openxmlformats-officedocument.presentationml.tags+xml"/>
  <Override PartName="/ppt/tags/tag19.xml" ContentType="application/vnd.openxmlformats-officedocument.presentationml.tags+xml"/>
  <Override PartName="/ppt/slideLayouts/slideLayout52.xml" ContentType="application/vnd.openxmlformats-officedocument.presentationml.slideLayout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tags/tag367.xml" ContentType="application/vnd.openxmlformats-officedocument.presentationml.tags+xml"/>
  <Override PartName="/ppt/slideLayouts/slideLayout228.xml" ContentType="application/vnd.openxmlformats-officedocument.presentationml.slideLayout+xml"/>
  <Override PartName="/ppt/slideMasters/slideMaster14.xml" ContentType="application/vnd.openxmlformats-officedocument.presentationml.slideMaster+xml"/>
  <Override PartName="/ppt/slideLayouts/slideLayout30.xml" ContentType="application/vnd.openxmlformats-officedocument.presentationml.slideLayout+xml"/>
  <Override PartName="/ppt/tags/tag159.xml" ContentType="application/vnd.openxmlformats-officedocument.presentationml.tags+xml"/>
  <Override PartName="/ppt/slideLayouts/slideLayout130.xml" ContentType="application/vnd.openxmlformats-officedocument.presentationml.slideLayout+xml"/>
  <Override PartName="/ppt/tags/tag345.xml" ContentType="application/vnd.openxmlformats-officedocument.presentationml.tags+xml"/>
  <Override PartName="/ppt/tags/tag392.xml" ContentType="application/vnd.openxmlformats-officedocument.presentationml.tags+xml"/>
  <Override PartName="/ppt/tags/tag44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84.xml" ContentType="application/vnd.openxmlformats-officedocument.presentationml.tags+xml"/>
  <Override PartName="/ppt/tags/tag200.xml" ContentType="application/vnd.openxmlformats-officedocument.presentationml.tags+xml"/>
  <Override PartName="/ppt/slideLayouts/slideLayout206.xml" ContentType="application/vnd.openxmlformats-officedocument.presentationml.slideLayout+xml"/>
  <Override PartName="/ppt/tags/tag22.xml" ContentType="application/vnd.openxmlformats-officedocument.presentationml.tags+xml"/>
  <Override PartName="/ppt/theme/theme13.xml" ContentType="application/vnd.openxmlformats-officedocument.theme+xml"/>
  <Override PartName="/ppt/tags/tag323.xml" ContentType="application/vnd.openxmlformats-officedocument.presentationml.tags+xml"/>
  <Override PartName="/ppt/tags/tag370.xml" ContentType="application/vnd.openxmlformats-officedocument.presentationml.tags+xml"/>
  <Override PartName="/ppt/slideLayouts/slideLayout231.xml" ContentType="application/vnd.openxmlformats-officedocument.presentationml.slideLayout+xml"/>
  <Override PartName="/ppt/slideLayouts/slideLayout68.xml" ContentType="application/vnd.openxmlformats-officedocument.presentationml.slideLayout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slideLayouts/slideLayout168.xml" ContentType="application/vnd.openxmlformats-officedocument.presentationml.slideLayout+xml"/>
  <Override PartName="/ppt/tags/tag301.xml" ContentType="application/vnd.openxmlformats-officedocument.presentationml.tags+xml"/>
  <Override PartName="/ppt/theme/theme5.xml" ContentType="application/vnd.openxmlformats-officedocument.theme+xml"/>
  <Override PartName="/ppt/tags/tag140.xml" ContentType="application/vnd.openxmlformats-officedocument.presentationml.tags+xml"/>
  <Override PartName="/ppt/tags/tag285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ags/tag216.xml" ContentType="application/vnd.openxmlformats-officedocument.presentationml.tags+xml"/>
  <Override PartName="/ppt/tags/tag402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3">
  <p:sldMasterIdLst>
    <p:sldMasterId id="2147483659" r:id="rId1"/>
    <p:sldMasterId id="2147483654" r:id="rId2"/>
    <p:sldMasterId id="2147483669" r:id="rId3"/>
    <p:sldMasterId id="2147483671" r:id="rId4"/>
    <p:sldMasterId id="2147483673" r:id="rId5"/>
    <p:sldMasterId id="2147483709" r:id="rId6"/>
    <p:sldMasterId id="2147483720" r:id="rId7"/>
    <p:sldMasterId id="2147483729" r:id="rId8"/>
    <p:sldMasterId id="2147483746" r:id="rId9"/>
    <p:sldMasterId id="2147483771" r:id="rId10"/>
    <p:sldMasterId id="2147483796" r:id="rId11"/>
    <p:sldMasterId id="2147483824" r:id="rId12"/>
    <p:sldMasterId id="2147483830" r:id="rId13"/>
    <p:sldMasterId id="2147483857" r:id="rId14"/>
    <p:sldMasterId id="2147483883" r:id="rId15"/>
    <p:sldMasterId id="2147483909" r:id="rId16"/>
    <p:sldMasterId id="2147483934" r:id="rId17"/>
  </p:sldMasterIdLst>
  <p:notesMasterIdLst>
    <p:notesMasterId r:id="rId44"/>
  </p:notesMasterIdLst>
  <p:handoutMasterIdLst>
    <p:handoutMasterId r:id="rId45"/>
  </p:handoutMasterIdLst>
  <p:sldIdLst>
    <p:sldId id="411" r:id="rId18"/>
    <p:sldId id="698" r:id="rId19"/>
    <p:sldId id="686" r:id="rId20"/>
    <p:sldId id="636" r:id="rId21"/>
    <p:sldId id="699" r:id="rId22"/>
    <p:sldId id="687" r:id="rId23"/>
    <p:sldId id="669" r:id="rId24"/>
    <p:sldId id="670" r:id="rId25"/>
    <p:sldId id="705" r:id="rId26"/>
    <p:sldId id="696" r:id="rId27"/>
    <p:sldId id="684" r:id="rId28"/>
    <p:sldId id="673" r:id="rId29"/>
    <p:sldId id="674" r:id="rId30"/>
    <p:sldId id="688" r:id="rId31"/>
    <p:sldId id="697" r:id="rId32"/>
    <p:sldId id="704" r:id="rId33"/>
    <p:sldId id="703" r:id="rId34"/>
    <p:sldId id="693" r:id="rId35"/>
    <p:sldId id="706" r:id="rId36"/>
    <p:sldId id="710" r:id="rId37"/>
    <p:sldId id="711" r:id="rId38"/>
    <p:sldId id="678" r:id="rId39"/>
    <p:sldId id="701" r:id="rId40"/>
    <p:sldId id="679" r:id="rId41"/>
    <p:sldId id="702" r:id="rId42"/>
    <p:sldId id="550" r:id="rId43"/>
  </p:sldIdLst>
  <p:sldSz cx="9144000" cy="6858000" type="screen4x3"/>
  <p:notesSz cx="6797675" cy="992822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nja" initials="A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1489"/>
    <a:srgbClr val="D1CDC9"/>
    <a:srgbClr val="FFC600"/>
    <a:srgbClr val="FFFFFF"/>
    <a:srgbClr val="D0D8E8"/>
    <a:srgbClr val="003399"/>
    <a:srgbClr val="7F030F"/>
    <a:srgbClr val="BC8F00"/>
    <a:srgbClr val="5C8727"/>
    <a:srgbClr val="956E8E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280" autoAdjust="0"/>
  </p:normalViewPr>
  <p:slideViewPr>
    <p:cSldViewPr snapToGrid="0" snapToObjects="1">
      <p:cViewPr varScale="1">
        <p:scale>
          <a:sx n="116" d="100"/>
          <a:sy n="116" d="100"/>
        </p:scale>
        <p:origin x="-1500" y="-11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1398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9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4.xml"/><Relationship Id="rId34" Type="http://schemas.openxmlformats.org/officeDocument/2006/relationships/slide" Target="slides/slide17.xml"/><Relationship Id="rId42" Type="http://schemas.openxmlformats.org/officeDocument/2006/relationships/slide" Target="slides/slide25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8.xml"/><Relationship Id="rId33" Type="http://schemas.openxmlformats.org/officeDocument/2006/relationships/slide" Target="slides/slide16.xml"/><Relationship Id="rId38" Type="http://schemas.openxmlformats.org/officeDocument/2006/relationships/slide" Target="slides/slide21.xml"/><Relationship Id="rId46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3.xml"/><Relationship Id="rId29" Type="http://schemas.openxmlformats.org/officeDocument/2006/relationships/slide" Target="slides/slide12.xml"/><Relationship Id="rId41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7.xml"/><Relationship Id="rId32" Type="http://schemas.openxmlformats.org/officeDocument/2006/relationships/slide" Target="slides/slide15.xml"/><Relationship Id="rId37" Type="http://schemas.openxmlformats.org/officeDocument/2006/relationships/slide" Target="slides/slide20.xml"/><Relationship Id="rId40" Type="http://schemas.openxmlformats.org/officeDocument/2006/relationships/slide" Target="slides/slide23.xml"/><Relationship Id="rId45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slide" Target="slides/slide19.xml"/><Relationship Id="rId49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2.xml"/><Relationship Id="rId31" Type="http://schemas.openxmlformats.org/officeDocument/2006/relationships/slide" Target="slides/slide14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slide" Target="slides/slide18.xml"/><Relationship Id="rId43" Type="http://schemas.openxmlformats.org/officeDocument/2006/relationships/slide" Target="slides/slide26.xml"/><Relationship Id="rId48" Type="http://schemas.openxmlformats.org/officeDocument/2006/relationships/viewProps" Target="viewProps.xml"/><Relationship Id="rId8" Type="http://schemas.openxmlformats.org/officeDocument/2006/relationships/slideMaster" Target="slideMasters/slideMaster8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Office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oleObject" Target="https://urbaneconsa-my.sharepoint.com/personal/marietha_urban-econ_com/Documents/8.%20MERO%202018/3.%20Quantec/SectionA_District%20Overview%202018%20v2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21"/>
  <c:clrMapOvr bg1="lt1" tx1="dk1" bg2="lt2" tx2="dk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0.31387546274773687"/>
          <c:y val="2.7428682070478893E-2"/>
          <c:w val="0.65055098751084395"/>
          <c:h val="0.74431242782268803"/>
        </c:manualLayout>
      </c:layout>
      <c:barChart>
        <c:barDir val="bar"/>
        <c:grouping val="clustered"/>
        <c:ser>
          <c:idx val="0"/>
          <c:order val="0"/>
          <c:tx>
            <c:strRef>
              <c:f>'fig 3.2'!$B$3</c:f>
              <c:strCache>
                <c:ptCount val="1"/>
                <c:pt idx="0">
                  <c:v>2013 - 2017</c:v>
                </c:pt>
              </c:strCache>
            </c:strRef>
          </c:tx>
          <c:spPr>
            <a:solidFill>
              <a:srgbClr val="001489"/>
            </a:solidFill>
            <a:ln>
              <a:noFill/>
            </a:ln>
          </c:spPr>
          <c:dPt>
            <c:idx val="4"/>
            <c:spPr>
              <a:solidFill>
                <a:srgbClr val="001489"/>
              </a:solidFill>
              <a:ln w="19050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FB9-4819-93C5-8F0A0225C5FD}"/>
              </c:ext>
            </c:extLst>
          </c:dPt>
          <c:cat>
            <c:strRef>
              <c:f>'fig 3.2'!$A$4:$A$12</c:f>
              <c:strCache>
                <c:ptCount val="9"/>
                <c:pt idx="0">
                  <c:v>Catering &amp; accommodation services</c:v>
                </c:pt>
                <c:pt idx="1">
                  <c:v>General government</c:v>
                </c:pt>
                <c:pt idx="2">
                  <c:v>Communication</c:v>
                </c:pt>
                <c:pt idx="3">
                  <c:v>Community, social &amp; personal services</c:v>
                </c:pt>
                <c:pt idx="4">
                  <c:v>Transport &amp; storage</c:v>
                </c:pt>
                <c:pt idx="5">
                  <c:v>Wholesale &amp; retail trade</c:v>
                </c:pt>
                <c:pt idx="6">
                  <c:v>Finance &amp; insurance</c:v>
                </c:pt>
                <c:pt idx="7">
                  <c:v>Business services</c:v>
                </c:pt>
                <c:pt idx="8">
                  <c:v>Total private services</c:v>
                </c:pt>
              </c:strCache>
            </c:strRef>
          </c:cat>
          <c:val>
            <c:numRef>
              <c:f>'fig 3.2'!$B$4:$B$12</c:f>
              <c:numCache>
                <c:formatCode>General</c:formatCode>
                <c:ptCount val="9"/>
                <c:pt idx="0">
                  <c:v>-1.2798379682691836</c:v>
                </c:pt>
                <c:pt idx="1">
                  <c:v>11.421809251609483</c:v>
                </c:pt>
                <c:pt idx="2">
                  <c:v>6.6254497090722335</c:v>
                </c:pt>
                <c:pt idx="3">
                  <c:v>6.412460913275682</c:v>
                </c:pt>
                <c:pt idx="4">
                  <c:v>3.5481993176672333</c:v>
                </c:pt>
                <c:pt idx="5">
                  <c:v>15.663925255340725</c:v>
                </c:pt>
                <c:pt idx="6">
                  <c:v>12.67833925664471</c:v>
                </c:pt>
                <c:pt idx="7">
                  <c:v>34.112878292830004</c:v>
                </c:pt>
                <c:pt idx="8">
                  <c:v>77.76141477656138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FB9-4819-93C5-8F0A0225C5FD}"/>
            </c:ext>
          </c:extLst>
        </c:ser>
        <c:ser>
          <c:idx val="1"/>
          <c:order val="1"/>
          <c:tx>
            <c:strRef>
              <c:f>'fig 3.2'!$C$3</c:f>
              <c:strCache>
                <c:ptCount val="1"/>
                <c:pt idx="0">
                  <c:v>2018 - 2022 (forecast)</c:v>
                </c:pt>
              </c:strCache>
            </c:strRef>
          </c:tx>
          <c:spPr>
            <a:solidFill>
              <a:srgbClr val="998F86"/>
            </a:solidFill>
            <a:ln>
              <a:noFill/>
            </a:ln>
          </c:spPr>
          <c:dPt>
            <c:idx val="4"/>
            <c:spPr>
              <a:solidFill>
                <a:srgbClr val="998F86"/>
              </a:solidFill>
              <a:ln w="19050"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BFB9-4819-93C5-8F0A0225C5FD}"/>
              </c:ext>
            </c:extLst>
          </c:dPt>
          <c:cat>
            <c:strRef>
              <c:f>'fig 3.2'!$A$4:$A$12</c:f>
              <c:strCache>
                <c:ptCount val="9"/>
                <c:pt idx="0">
                  <c:v>Catering &amp; accommodation services</c:v>
                </c:pt>
                <c:pt idx="1">
                  <c:v>General government</c:v>
                </c:pt>
                <c:pt idx="2">
                  <c:v>Communication</c:v>
                </c:pt>
                <c:pt idx="3">
                  <c:v>Community, social &amp; personal services</c:v>
                </c:pt>
                <c:pt idx="4">
                  <c:v>Transport &amp; storage</c:v>
                </c:pt>
                <c:pt idx="5">
                  <c:v>Wholesale &amp; retail trade</c:v>
                </c:pt>
                <c:pt idx="6">
                  <c:v>Finance &amp; insurance</c:v>
                </c:pt>
                <c:pt idx="7">
                  <c:v>Business services</c:v>
                </c:pt>
                <c:pt idx="8">
                  <c:v>Total private services</c:v>
                </c:pt>
              </c:strCache>
            </c:strRef>
          </c:cat>
          <c:val>
            <c:numRef>
              <c:f>'fig 3.2'!$C$4:$C$12</c:f>
              <c:numCache>
                <c:formatCode>General</c:formatCode>
                <c:ptCount val="9"/>
                <c:pt idx="0">
                  <c:v>2.8608137512218583</c:v>
                </c:pt>
                <c:pt idx="1">
                  <c:v>8.4720802052411486</c:v>
                </c:pt>
                <c:pt idx="2">
                  <c:v>11.946675353394101</c:v>
                </c:pt>
                <c:pt idx="3">
                  <c:v>19.005684989492231</c:v>
                </c:pt>
                <c:pt idx="4" formatCode="0.0">
                  <c:v>23.162574889087903</c:v>
                </c:pt>
                <c:pt idx="5">
                  <c:v>35.540580750151072</c:v>
                </c:pt>
                <c:pt idx="6">
                  <c:v>35.917605810038509</c:v>
                </c:pt>
                <c:pt idx="7">
                  <c:v>74.321952501644915</c:v>
                </c:pt>
                <c:pt idx="8">
                  <c:v>202.7558880450314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BFB9-4819-93C5-8F0A0225C5FD}"/>
            </c:ext>
          </c:extLst>
        </c:ser>
        <c:dLbls/>
        <c:axId val="126820352"/>
        <c:axId val="126821888"/>
      </c:barChart>
      <c:catAx>
        <c:axId val="126820352"/>
        <c:scaling>
          <c:orientation val="minMax"/>
        </c:scaling>
        <c:axPos val="l"/>
        <c:numFmt formatCode="General" sourceLinked="0"/>
        <c:tickLblPos val="low"/>
        <c:spPr>
          <a:ln w="317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200"/>
            </a:pPr>
            <a:endParaRPr lang="en-US"/>
          </a:p>
        </c:txPr>
        <c:crossAx val="126821888"/>
        <c:crosses val="autoZero"/>
        <c:auto val="1"/>
        <c:lblAlgn val="ctr"/>
        <c:lblOffset val="100"/>
      </c:catAx>
      <c:valAx>
        <c:axId val="126821888"/>
        <c:scaling>
          <c:orientation val="minMax"/>
          <c:max val="75"/>
          <c:min val="-5"/>
        </c:scaling>
        <c:axPos val="b"/>
        <c:majorGridlines>
          <c:spPr>
            <a:ln w="9525">
              <a:solidFill>
                <a:sysClr val="window" lastClr="FFFFFF">
                  <a:lumMod val="75000"/>
                </a:sysClr>
              </a:solidFill>
            </a:ln>
          </c:spPr>
        </c:majorGridlines>
        <c:title>
          <c:tx>
            <c:rich>
              <a:bodyPr/>
              <a:lstStyle/>
              <a:p>
                <a:pPr>
                  <a:defRPr sz="1200"/>
                </a:pPr>
                <a:r>
                  <a:rPr lang="en-ZA" sz="1200" dirty="0"/>
                  <a:t>Per</a:t>
                </a:r>
                <a:r>
                  <a:rPr lang="en-ZA" sz="1200" baseline="0" dirty="0"/>
                  <a:t>centage contribution to growth (average)</a:t>
                </a:r>
                <a:endParaRPr lang="en-ZA" sz="1200" dirty="0"/>
              </a:p>
            </c:rich>
          </c:tx>
          <c:layout>
            <c:manualLayout>
              <c:xMode val="edge"/>
              <c:yMode val="edge"/>
              <c:x val="0.49904672506936854"/>
              <c:y val="0.82985431287199074"/>
            </c:manualLayout>
          </c:layout>
        </c:title>
        <c:numFmt formatCode="#,##0" sourceLinked="0"/>
        <c:tickLblPos val="nextTo"/>
        <c:spPr>
          <a:ln w="317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200"/>
            </a:pPr>
            <a:endParaRPr lang="en-US"/>
          </a:p>
        </c:txPr>
        <c:crossAx val="126820352"/>
        <c:crosses val="autoZero"/>
        <c:crossBetween val="between"/>
      </c:valAx>
      <c:spPr>
        <a:noFill/>
        <a:ln w="3175">
          <a:solidFill>
            <a:sysClr val="windowText" lastClr="000000"/>
          </a:solidFill>
        </a:ln>
      </c:spPr>
    </c:plotArea>
    <c:legend>
      <c:legendPos val="r"/>
      <c:layout>
        <c:manualLayout>
          <c:xMode val="edge"/>
          <c:yMode val="edge"/>
          <c:x val="0.45898212907113389"/>
          <c:y val="0.90654725948298831"/>
          <c:w val="0.45183629802264197"/>
          <c:h val="5.9607133339255582E-2"/>
        </c:manualLayout>
      </c:layout>
      <c:spPr>
        <a:ln w="3175">
          <a:solidFill>
            <a:sysClr val="windowText" lastClr="000000"/>
          </a:solidFill>
        </a:ln>
      </c:spPr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gap"/>
  </c:chart>
  <c:spPr>
    <a:ln>
      <a:noFill/>
    </a:ln>
  </c:spPr>
  <c:txPr>
    <a:bodyPr/>
    <a:lstStyle/>
    <a:p>
      <a:pPr>
        <a:defRPr sz="8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hart>
    <c:title>
      <c:tx>
        <c:rich>
          <a:bodyPr rot="0" spcFirstLastPara="1" vertOverflow="ellipsis" vert="horz" wrap="square" anchor="ctr" anchorCtr="1"/>
          <a:lstStyle/>
          <a:p>
            <a:pPr>
              <a:defRPr sz="126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ZA" b="1" dirty="0"/>
              <a:t>Sectoral contribution per region</a:t>
            </a:r>
          </a:p>
        </c:rich>
      </c:tx>
      <c:spPr>
        <a:noFill/>
        <a:ln>
          <a:noFill/>
        </a:ln>
        <a:effectLst/>
      </c:spPr>
    </c:title>
    <c:plotArea>
      <c:layout>
        <c:manualLayout>
          <c:layoutTarget val="inner"/>
          <c:xMode val="edge"/>
          <c:yMode val="edge"/>
          <c:x val="0.1539991276902464"/>
          <c:y val="8.9323263452551524E-2"/>
          <c:w val="0.81737222742748605"/>
          <c:h val="0.53479107299155515"/>
        </c:manualLayout>
      </c:layout>
      <c:barChart>
        <c:barDir val="bar"/>
        <c:grouping val="percentStacked"/>
        <c:ser>
          <c:idx val="2"/>
          <c:order val="0"/>
          <c:tx>
            <c:strRef>
              <c:f>'Table 6'!$A$21</c:f>
              <c:strCache>
                <c:ptCount val="1"/>
                <c:pt idx="0">
                  <c:v>Agriculture, forestry and fishing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Table 6'!$C$19:$H$19</c:f>
              <c:strCache>
                <c:ptCount val="6"/>
                <c:pt idx="0">
                  <c:v>Cape Metro</c:v>
                </c:pt>
                <c:pt idx="1">
                  <c:v>West Coast</c:v>
                </c:pt>
                <c:pt idx="2">
                  <c:v>Cape Winelands</c:v>
                </c:pt>
                <c:pt idx="3">
                  <c:v>Overberg</c:v>
                </c:pt>
                <c:pt idx="4">
                  <c:v>Eden</c:v>
                </c:pt>
                <c:pt idx="5">
                  <c:v>Central Karoo</c:v>
                </c:pt>
              </c:strCache>
            </c:strRef>
          </c:cat>
          <c:val>
            <c:numRef>
              <c:f>'Table 6'!$C$21:$H$21</c:f>
              <c:numCache>
                <c:formatCode>0\.0%</c:formatCode>
                <c:ptCount val="6"/>
                <c:pt idx="0">
                  <c:v>1.4587039589292217E-2</c:v>
                </c:pt>
                <c:pt idx="1">
                  <c:v>0.20178173519363155</c:v>
                </c:pt>
                <c:pt idx="2">
                  <c:v>9.4949123375319452E-2</c:v>
                </c:pt>
                <c:pt idx="3">
                  <c:v>0.10827381849229067</c:v>
                </c:pt>
                <c:pt idx="4">
                  <c:v>5.699097152149922E-2</c:v>
                </c:pt>
                <c:pt idx="5">
                  <c:v>0.158026681844517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882-4E52-82B1-C81B6886DF99}"/>
            </c:ext>
          </c:extLst>
        </c:ser>
        <c:ser>
          <c:idx val="4"/>
          <c:order val="1"/>
          <c:tx>
            <c:strRef>
              <c:f>'Table 6'!$A$22</c:f>
              <c:strCache>
                <c:ptCount val="1"/>
                <c:pt idx="0">
                  <c:v>Mining and quarrying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cat>
            <c:strRef>
              <c:f>'Table 6'!$C$19:$H$19</c:f>
              <c:strCache>
                <c:ptCount val="6"/>
                <c:pt idx="0">
                  <c:v>Cape Metro</c:v>
                </c:pt>
                <c:pt idx="1">
                  <c:v>West Coast</c:v>
                </c:pt>
                <c:pt idx="2">
                  <c:v>Cape Winelands</c:v>
                </c:pt>
                <c:pt idx="3">
                  <c:v>Overberg</c:v>
                </c:pt>
                <c:pt idx="4">
                  <c:v>Eden</c:v>
                </c:pt>
                <c:pt idx="5">
                  <c:v>Central Karoo</c:v>
                </c:pt>
              </c:strCache>
            </c:strRef>
          </c:cat>
          <c:val>
            <c:numRef>
              <c:f>'Table 6'!$C$22:$H$22</c:f>
              <c:numCache>
                <c:formatCode>0\.0%</c:formatCode>
                <c:ptCount val="6"/>
                <c:pt idx="0">
                  <c:v>2.4514743317393733E-3</c:v>
                </c:pt>
                <c:pt idx="1">
                  <c:v>1.0584624177217457E-2</c:v>
                </c:pt>
                <c:pt idx="2">
                  <c:v>2.0116453054684802E-3</c:v>
                </c:pt>
                <c:pt idx="3">
                  <c:v>1.064466606126995E-3</c:v>
                </c:pt>
                <c:pt idx="4">
                  <c:v>3.674340072566039E-3</c:v>
                </c:pt>
                <c:pt idx="5">
                  <c:v>5.2262025291011701E-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882-4E52-82B1-C81B6886DF99}"/>
            </c:ext>
          </c:extLst>
        </c:ser>
        <c:ser>
          <c:idx val="5"/>
          <c:order val="2"/>
          <c:tx>
            <c:strRef>
              <c:f>'Table 6'!$A$24</c:f>
              <c:strCache>
                <c:ptCount val="1"/>
                <c:pt idx="0">
                  <c:v>Manufacturing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Table 6'!$C$19:$H$19</c:f>
              <c:strCache>
                <c:ptCount val="6"/>
                <c:pt idx="0">
                  <c:v>Cape Metro</c:v>
                </c:pt>
                <c:pt idx="1">
                  <c:v>West Coast</c:v>
                </c:pt>
                <c:pt idx="2">
                  <c:v>Cape Winelands</c:v>
                </c:pt>
                <c:pt idx="3">
                  <c:v>Overberg</c:v>
                </c:pt>
                <c:pt idx="4">
                  <c:v>Eden</c:v>
                </c:pt>
                <c:pt idx="5">
                  <c:v>Central Karoo</c:v>
                </c:pt>
              </c:strCache>
            </c:strRef>
          </c:cat>
          <c:val>
            <c:numRef>
              <c:f>'Table 6'!$C$24:$H$24</c:f>
              <c:numCache>
                <c:formatCode>0\.0%</c:formatCode>
                <c:ptCount val="6"/>
                <c:pt idx="0">
                  <c:v>0.1528190611159238</c:v>
                </c:pt>
                <c:pt idx="1">
                  <c:v>0.20293673531987516</c:v>
                </c:pt>
                <c:pt idx="2">
                  <c:v>0.15685965153785833</c:v>
                </c:pt>
                <c:pt idx="3">
                  <c:v>0.13509110134693983</c:v>
                </c:pt>
                <c:pt idx="4">
                  <c:v>0.14536296117507172</c:v>
                </c:pt>
                <c:pt idx="5">
                  <c:v>2.4643202357362941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0882-4E52-82B1-C81B6886DF99}"/>
            </c:ext>
          </c:extLst>
        </c:ser>
        <c:ser>
          <c:idx val="6"/>
          <c:order val="3"/>
          <c:tx>
            <c:strRef>
              <c:f>'Table 6'!$A$25</c:f>
              <c:strCache>
                <c:ptCount val="1"/>
                <c:pt idx="0">
                  <c:v>Electricity, gas and water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cat>
            <c:strRef>
              <c:f>'Table 6'!$C$19:$H$19</c:f>
              <c:strCache>
                <c:ptCount val="6"/>
                <c:pt idx="0">
                  <c:v>Cape Metro</c:v>
                </c:pt>
                <c:pt idx="1">
                  <c:v>West Coast</c:v>
                </c:pt>
                <c:pt idx="2">
                  <c:v>Cape Winelands</c:v>
                </c:pt>
                <c:pt idx="3">
                  <c:v>Overberg</c:v>
                </c:pt>
                <c:pt idx="4">
                  <c:v>Eden</c:v>
                </c:pt>
                <c:pt idx="5">
                  <c:v>Central Karoo</c:v>
                </c:pt>
              </c:strCache>
            </c:strRef>
          </c:cat>
          <c:val>
            <c:numRef>
              <c:f>'Table 6'!$C$25:$H$25</c:f>
              <c:numCache>
                <c:formatCode>0\.0%</c:formatCode>
                <c:ptCount val="6"/>
                <c:pt idx="0">
                  <c:v>3.0185876925403223E-2</c:v>
                </c:pt>
                <c:pt idx="1">
                  <c:v>1.9621126391780493E-2</c:v>
                </c:pt>
                <c:pt idx="2">
                  <c:v>2.2532534565085516E-2</c:v>
                </c:pt>
                <c:pt idx="3">
                  <c:v>2.5297329874699175E-2</c:v>
                </c:pt>
                <c:pt idx="4">
                  <c:v>3.0905588041788484E-2</c:v>
                </c:pt>
                <c:pt idx="5">
                  <c:v>5.6721929702991593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0882-4E52-82B1-C81B6886DF99}"/>
            </c:ext>
          </c:extLst>
        </c:ser>
        <c:ser>
          <c:idx val="8"/>
          <c:order val="4"/>
          <c:tx>
            <c:strRef>
              <c:f>'Table 6'!$A$26</c:f>
              <c:strCache>
                <c:ptCount val="1"/>
                <c:pt idx="0">
                  <c:v>Construction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Table 6'!$C$19:$H$19</c:f>
              <c:strCache>
                <c:ptCount val="6"/>
                <c:pt idx="0">
                  <c:v>Cape Metro</c:v>
                </c:pt>
                <c:pt idx="1">
                  <c:v>West Coast</c:v>
                </c:pt>
                <c:pt idx="2">
                  <c:v>Cape Winelands</c:v>
                </c:pt>
                <c:pt idx="3">
                  <c:v>Overberg</c:v>
                </c:pt>
                <c:pt idx="4">
                  <c:v>Eden</c:v>
                </c:pt>
                <c:pt idx="5">
                  <c:v>Central Karoo</c:v>
                </c:pt>
              </c:strCache>
            </c:strRef>
          </c:cat>
          <c:val>
            <c:numRef>
              <c:f>'Table 6'!$C$26:$H$26</c:f>
              <c:numCache>
                <c:formatCode>0\.0%</c:formatCode>
                <c:ptCount val="6"/>
                <c:pt idx="0">
                  <c:v>5.3415612490349762E-2</c:v>
                </c:pt>
                <c:pt idx="1">
                  <c:v>5.0489674267218475E-2</c:v>
                </c:pt>
                <c:pt idx="2">
                  <c:v>6.6467722123345743E-2</c:v>
                </c:pt>
                <c:pt idx="3">
                  <c:v>7.3773589771781722E-2</c:v>
                </c:pt>
                <c:pt idx="4">
                  <c:v>6.5848656741138559E-2</c:v>
                </c:pt>
                <c:pt idx="5">
                  <c:v>5.586676498416094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0882-4E52-82B1-C81B6886DF99}"/>
            </c:ext>
          </c:extLst>
        </c:ser>
        <c:ser>
          <c:idx val="9"/>
          <c:order val="5"/>
          <c:tx>
            <c:strRef>
              <c:f>'Table 6'!$A$28</c:f>
              <c:strCache>
                <c:ptCount val="1"/>
                <c:pt idx="0">
                  <c:v>Wholesale and retail trade, catering and accommodation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Table 6'!$C$19:$H$19</c:f>
              <c:strCache>
                <c:ptCount val="6"/>
                <c:pt idx="0">
                  <c:v>Cape Metro</c:v>
                </c:pt>
                <c:pt idx="1">
                  <c:v>West Coast</c:v>
                </c:pt>
                <c:pt idx="2">
                  <c:v>Cape Winelands</c:v>
                </c:pt>
                <c:pt idx="3">
                  <c:v>Overberg</c:v>
                </c:pt>
                <c:pt idx="4">
                  <c:v>Eden</c:v>
                </c:pt>
                <c:pt idx="5">
                  <c:v>Central Karoo</c:v>
                </c:pt>
              </c:strCache>
            </c:strRef>
          </c:cat>
          <c:val>
            <c:numRef>
              <c:f>'Table 6'!$C$28:$H$28</c:f>
              <c:numCache>
                <c:formatCode>0\.0%</c:formatCode>
                <c:ptCount val="6"/>
                <c:pt idx="0">
                  <c:v>0.16898784229003458</c:v>
                </c:pt>
                <c:pt idx="1">
                  <c:v>0.15347206339534042</c:v>
                </c:pt>
                <c:pt idx="2">
                  <c:v>0.18359296560084384</c:v>
                </c:pt>
                <c:pt idx="3">
                  <c:v>0.19096161703363748</c:v>
                </c:pt>
                <c:pt idx="4">
                  <c:v>0.17936917484223419</c:v>
                </c:pt>
                <c:pt idx="5">
                  <c:v>0.145130092594061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0882-4E52-82B1-C81B6886DF99}"/>
            </c:ext>
          </c:extLst>
        </c:ser>
        <c:ser>
          <c:idx val="0"/>
          <c:order val="6"/>
          <c:tx>
            <c:strRef>
              <c:f>'Table 6'!$A$29</c:f>
              <c:strCache>
                <c:ptCount val="1"/>
                <c:pt idx="0">
                  <c:v>Transport, storage and communicatio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Table 6'!$C$19:$H$19</c:f>
              <c:strCache>
                <c:ptCount val="6"/>
                <c:pt idx="0">
                  <c:v>Cape Metro</c:v>
                </c:pt>
                <c:pt idx="1">
                  <c:v>West Coast</c:v>
                </c:pt>
                <c:pt idx="2">
                  <c:v>Cape Winelands</c:v>
                </c:pt>
                <c:pt idx="3">
                  <c:v>Overberg</c:v>
                </c:pt>
                <c:pt idx="4">
                  <c:v>Eden</c:v>
                </c:pt>
                <c:pt idx="5">
                  <c:v>Central Karoo</c:v>
                </c:pt>
              </c:strCache>
            </c:strRef>
          </c:cat>
          <c:val>
            <c:numRef>
              <c:f>'Table 6'!$C$29:$H$29</c:f>
              <c:numCache>
                <c:formatCode>0\.0%</c:formatCode>
                <c:ptCount val="6"/>
                <c:pt idx="0">
                  <c:v>0.11477124546925652</c:v>
                </c:pt>
                <c:pt idx="1">
                  <c:v>8.1509788074904332E-2</c:v>
                </c:pt>
                <c:pt idx="2">
                  <c:v>9.4993495597060246E-2</c:v>
                </c:pt>
                <c:pt idx="3">
                  <c:v>0.10801254772928721</c:v>
                </c:pt>
                <c:pt idx="4">
                  <c:v>9.9818293132473729E-2</c:v>
                </c:pt>
                <c:pt idx="5">
                  <c:v>0.1491516589666577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0882-4E52-82B1-C81B6886DF99}"/>
            </c:ext>
          </c:extLst>
        </c:ser>
        <c:ser>
          <c:idx val="1"/>
          <c:order val="7"/>
          <c:tx>
            <c:strRef>
              <c:f>'Table 6'!$A$30</c:f>
              <c:strCache>
                <c:ptCount val="1"/>
                <c:pt idx="0">
                  <c:v>Finance, insurance, real estate and business servic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Table 6'!$C$19:$H$19</c:f>
              <c:strCache>
                <c:ptCount val="6"/>
                <c:pt idx="0">
                  <c:v>Cape Metro</c:v>
                </c:pt>
                <c:pt idx="1">
                  <c:v>West Coast</c:v>
                </c:pt>
                <c:pt idx="2">
                  <c:v>Cape Winelands</c:v>
                </c:pt>
                <c:pt idx="3">
                  <c:v>Overberg</c:v>
                </c:pt>
                <c:pt idx="4">
                  <c:v>Eden</c:v>
                </c:pt>
                <c:pt idx="5">
                  <c:v>Central Karoo</c:v>
                </c:pt>
              </c:strCache>
            </c:strRef>
          </c:cat>
          <c:val>
            <c:numRef>
              <c:f>'Table 6'!$C$30:$H$30</c:f>
              <c:numCache>
                <c:formatCode>0\.0%</c:formatCode>
                <c:ptCount val="6"/>
                <c:pt idx="0">
                  <c:v>0.27690737590283665</c:v>
                </c:pt>
                <c:pt idx="1">
                  <c:v>0.11386631737552877</c:v>
                </c:pt>
                <c:pt idx="2">
                  <c:v>0.19947751089637769</c:v>
                </c:pt>
                <c:pt idx="3">
                  <c:v>0.20113434513313974</c:v>
                </c:pt>
                <c:pt idx="4">
                  <c:v>0.24867308047832554</c:v>
                </c:pt>
                <c:pt idx="5">
                  <c:v>0.1063218360404145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0882-4E52-82B1-C81B6886DF99}"/>
            </c:ext>
          </c:extLst>
        </c:ser>
        <c:ser>
          <c:idx val="3"/>
          <c:order val="8"/>
          <c:tx>
            <c:strRef>
              <c:f>'Table 6'!$A$31</c:f>
              <c:strCache>
                <c:ptCount val="1"/>
                <c:pt idx="0">
                  <c:v>General governmen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Table 6'!$C$19:$H$19</c:f>
              <c:strCache>
                <c:ptCount val="6"/>
                <c:pt idx="0">
                  <c:v>Cape Metro</c:v>
                </c:pt>
                <c:pt idx="1">
                  <c:v>West Coast</c:v>
                </c:pt>
                <c:pt idx="2">
                  <c:v>Cape Winelands</c:v>
                </c:pt>
                <c:pt idx="3">
                  <c:v>Overberg</c:v>
                </c:pt>
                <c:pt idx="4">
                  <c:v>Eden</c:v>
                </c:pt>
                <c:pt idx="5">
                  <c:v>Central Karoo</c:v>
                </c:pt>
              </c:strCache>
            </c:strRef>
          </c:cat>
          <c:val>
            <c:numRef>
              <c:f>'Table 6'!$C$31:$H$31</c:f>
              <c:numCache>
                <c:formatCode>0\.0%</c:formatCode>
                <c:ptCount val="6"/>
                <c:pt idx="0">
                  <c:v>0.11972493782466086</c:v>
                </c:pt>
                <c:pt idx="1">
                  <c:v>0.10450058804490031</c:v>
                </c:pt>
                <c:pt idx="2">
                  <c:v>0.10451037111096548</c:v>
                </c:pt>
                <c:pt idx="3">
                  <c:v>8.9950387331734341E-2</c:v>
                </c:pt>
                <c:pt idx="4">
                  <c:v>0.10196450762653587</c:v>
                </c:pt>
                <c:pt idx="5">
                  <c:v>0.2091045244032272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0882-4E52-82B1-C81B6886DF99}"/>
            </c:ext>
          </c:extLst>
        </c:ser>
        <c:ser>
          <c:idx val="7"/>
          <c:order val="9"/>
          <c:tx>
            <c:strRef>
              <c:f>'Table 6'!$A$32</c:f>
              <c:strCache>
                <c:ptCount val="1"/>
                <c:pt idx="0">
                  <c:v>Community, social and personal services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Table 6'!$C$19:$H$19</c:f>
              <c:strCache>
                <c:ptCount val="6"/>
                <c:pt idx="0">
                  <c:v>Cape Metro</c:v>
                </c:pt>
                <c:pt idx="1">
                  <c:v>West Coast</c:v>
                </c:pt>
                <c:pt idx="2">
                  <c:v>Cape Winelands</c:v>
                </c:pt>
                <c:pt idx="3">
                  <c:v>Overberg</c:v>
                </c:pt>
                <c:pt idx="4">
                  <c:v>Eden</c:v>
                </c:pt>
                <c:pt idx="5">
                  <c:v>Central Karoo</c:v>
                </c:pt>
              </c:strCache>
            </c:strRef>
          </c:cat>
          <c:val>
            <c:numRef>
              <c:f>'Table 6'!$C$32:$H$32</c:f>
              <c:numCache>
                <c:formatCode>0\.0%</c:formatCode>
                <c:ptCount val="6"/>
                <c:pt idx="0">
                  <c:v>6.614953406050339E-2</c:v>
                </c:pt>
                <c:pt idx="1">
                  <c:v>6.1237347759603024E-2</c:v>
                </c:pt>
                <c:pt idx="2">
                  <c:v>7.4604979887675366E-2</c:v>
                </c:pt>
                <c:pt idx="3">
                  <c:v>6.6440796680362735E-2</c:v>
                </c:pt>
                <c:pt idx="4">
                  <c:v>6.7392426368366953E-2</c:v>
                </c:pt>
                <c:pt idx="5">
                  <c:v>9.4510688853694916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0882-4E52-82B1-C81B6886DF99}"/>
            </c:ext>
          </c:extLst>
        </c:ser>
        <c:dLbls/>
        <c:overlap val="100"/>
        <c:axId val="111104768"/>
        <c:axId val="111106304"/>
      </c:barChart>
      <c:catAx>
        <c:axId val="111104768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317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1106304"/>
        <c:crosses val="autoZero"/>
        <c:auto val="1"/>
        <c:lblAlgn val="ctr"/>
        <c:lblOffset val="100"/>
      </c:catAx>
      <c:valAx>
        <c:axId val="111106304"/>
        <c:scaling>
          <c:orientation val="minMax"/>
        </c:scaling>
        <c:axPos val="b"/>
        <c:majorGridlines>
          <c:spPr>
            <a:ln w="3175" cap="flat" cmpd="sng" algn="ctr">
              <a:solidFill>
                <a:schemeClr val="bg1">
                  <a:lumMod val="7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1104768"/>
        <c:crosses val="autoZero"/>
        <c:crossBetween val="between"/>
      </c:valAx>
      <c:spPr>
        <a:noFill/>
        <a:ln w="3175">
          <a:solidFill>
            <a:schemeClr val="tx1"/>
          </a:solidFill>
        </a:ln>
        <a:effectLst/>
      </c:spPr>
    </c:plotArea>
    <c:legend>
      <c:legendPos val="b"/>
      <c:layout>
        <c:manualLayout>
          <c:xMode val="edge"/>
          <c:yMode val="edge"/>
          <c:x val="3.620673093585261E-2"/>
          <c:y val="0.71868502297051284"/>
          <c:w val="0.9443395863256272"/>
          <c:h val="0.2416417125873925"/>
        </c:manualLayout>
      </c:layout>
      <c:spPr>
        <a:noFill/>
        <a:ln w="3175">
          <a:solidFill>
            <a:schemeClr val="tx1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50">
          <a:solidFill>
            <a:schemeClr val="tx1"/>
          </a:solidFill>
        </a:defRPr>
      </a:pPr>
      <a:endParaRPr lang="en-US"/>
    </a:p>
  </c:txPr>
  <c:externalData r:id="rId1"/>
</c:chartSpac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9.pn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9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3D0595D-B476-4974-B867-78923BF29A1D}" type="doc">
      <dgm:prSet loTypeId="urn:microsoft.com/office/officeart/2005/8/layout/hProcess1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ZA"/>
        </a:p>
      </dgm:t>
    </dgm:pt>
    <dgm:pt modelId="{EFDE0786-D38E-4041-8CF1-80CA52A3D720}">
      <dgm:prSet phldrT="[Text]" custT="1"/>
      <dgm:spPr/>
      <dgm:t>
        <a:bodyPr/>
        <a:lstStyle/>
        <a:p>
          <a:r>
            <a:rPr lang="en-ZA" sz="1100" b="1" dirty="0"/>
            <a:t>Jan 2019</a:t>
          </a:r>
          <a:br>
            <a:rPr lang="en-ZA" sz="1100" b="1" dirty="0"/>
          </a:br>
          <a:r>
            <a:rPr lang="en-ZA" sz="1100" b="1" dirty="0"/>
            <a:t>PG MTEC 2</a:t>
          </a:r>
        </a:p>
      </dgm:t>
    </dgm:pt>
    <dgm:pt modelId="{B3D35EEE-ADC1-42D4-BCCA-7C9FEA1F8250}" type="parTrans" cxnId="{819B1303-9493-40E3-B1CC-DB45043874E3}">
      <dgm:prSet/>
      <dgm:spPr/>
      <dgm:t>
        <a:bodyPr/>
        <a:lstStyle/>
        <a:p>
          <a:endParaRPr lang="en-ZA"/>
        </a:p>
      </dgm:t>
    </dgm:pt>
    <dgm:pt modelId="{9F175546-1E52-43D3-BC6B-21BDC4BA9A31}" type="sibTrans" cxnId="{819B1303-9493-40E3-B1CC-DB45043874E3}">
      <dgm:prSet/>
      <dgm:spPr/>
      <dgm:t>
        <a:bodyPr/>
        <a:lstStyle/>
        <a:p>
          <a:endParaRPr lang="en-ZA"/>
        </a:p>
      </dgm:t>
    </dgm:pt>
    <dgm:pt modelId="{802A621F-0C74-449F-9B84-5CE7DE6C30D3}">
      <dgm:prSet phldrT="[Text]" custT="1"/>
      <dgm:spPr/>
      <dgm:t>
        <a:bodyPr/>
        <a:lstStyle/>
        <a:p>
          <a:r>
            <a:rPr lang="en-ZA" sz="1100" b="1" dirty="0"/>
            <a:t>Oct 2018</a:t>
          </a:r>
          <a:br>
            <a:rPr lang="en-ZA" sz="1100" b="1" dirty="0"/>
          </a:br>
          <a:r>
            <a:rPr lang="en-ZA" sz="1100" b="1" dirty="0"/>
            <a:t>PG MTEC 1</a:t>
          </a:r>
          <a:br>
            <a:rPr lang="en-ZA" sz="1100" b="1" dirty="0"/>
          </a:br>
          <a:r>
            <a:rPr lang="en-ZA" sz="1100" b="1" dirty="0"/>
            <a:t>National </a:t>
          </a:r>
          <a:br>
            <a:rPr lang="en-ZA" sz="1100" b="1" dirty="0"/>
          </a:br>
          <a:r>
            <a:rPr lang="en-ZA" sz="1100" b="1" dirty="0"/>
            <a:t>MTBPS</a:t>
          </a:r>
        </a:p>
      </dgm:t>
    </dgm:pt>
    <dgm:pt modelId="{14BFB05E-A983-432E-B67A-C8335A8D41A7}" type="parTrans" cxnId="{42988B7E-3E2E-41D4-B91E-361B712197EB}">
      <dgm:prSet/>
      <dgm:spPr/>
      <dgm:t>
        <a:bodyPr/>
        <a:lstStyle/>
        <a:p>
          <a:endParaRPr lang="en-ZA"/>
        </a:p>
      </dgm:t>
    </dgm:pt>
    <dgm:pt modelId="{F734A44C-93BC-4D94-83C4-43A53D81C6AD}" type="sibTrans" cxnId="{42988B7E-3E2E-41D4-B91E-361B712197EB}">
      <dgm:prSet/>
      <dgm:spPr/>
      <dgm:t>
        <a:bodyPr/>
        <a:lstStyle/>
        <a:p>
          <a:endParaRPr lang="en-ZA"/>
        </a:p>
      </dgm:t>
    </dgm:pt>
    <dgm:pt modelId="{8BCF472A-49E7-4FFB-ACE4-475781CA816F}">
      <dgm:prSet phldrT="[Text]" custT="1"/>
      <dgm:spPr/>
      <dgm:t>
        <a:bodyPr/>
        <a:lstStyle/>
        <a:p>
          <a:r>
            <a:rPr lang="en-ZA" sz="1100" b="1" dirty="0">
              <a:solidFill>
                <a:schemeClr val="tx1"/>
              </a:solidFill>
            </a:rPr>
            <a:t>Nov 2018</a:t>
          </a:r>
          <a:br>
            <a:rPr lang="en-ZA" sz="1100" b="1" dirty="0">
              <a:solidFill>
                <a:schemeClr val="tx1"/>
              </a:solidFill>
            </a:rPr>
          </a:br>
          <a:endParaRPr lang="en-ZA" sz="1100" b="1" dirty="0">
            <a:solidFill>
              <a:schemeClr val="tx1"/>
            </a:solidFill>
          </a:endParaRPr>
        </a:p>
      </dgm:t>
    </dgm:pt>
    <dgm:pt modelId="{79B21EA3-58DC-4A82-923E-62A90E613DD0}" type="parTrans" cxnId="{85087ECD-0815-4FAC-BC48-EC3A86A51097}">
      <dgm:prSet/>
      <dgm:spPr/>
      <dgm:t>
        <a:bodyPr/>
        <a:lstStyle/>
        <a:p>
          <a:endParaRPr lang="en-ZA"/>
        </a:p>
      </dgm:t>
    </dgm:pt>
    <dgm:pt modelId="{02E156E2-D2FE-4A7E-9A2D-F024D37E1FDD}" type="sibTrans" cxnId="{85087ECD-0815-4FAC-BC48-EC3A86A51097}">
      <dgm:prSet/>
      <dgm:spPr/>
      <dgm:t>
        <a:bodyPr/>
        <a:lstStyle/>
        <a:p>
          <a:endParaRPr lang="en-ZA"/>
        </a:p>
      </dgm:t>
    </dgm:pt>
    <dgm:pt modelId="{2F7C2674-7B4A-4DE0-85BC-6E822DB03B04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ZA" sz="1100" b="1" dirty="0">
              <a:solidFill>
                <a:schemeClr val="bg1"/>
              </a:solidFill>
            </a:rPr>
            <a:t>Feb 2019 </a:t>
          </a:r>
          <a:r>
            <a:rPr lang="en-ZA" sz="1100" b="1" dirty="0" err="1">
              <a:solidFill>
                <a:schemeClr val="bg1"/>
              </a:solidFill>
            </a:rPr>
            <a:t>Bosberaad</a:t>
          </a:r>
          <a:endParaRPr lang="en-ZA" sz="1100" b="1" dirty="0">
            <a:solidFill>
              <a:schemeClr val="bg1"/>
            </a:solidFill>
          </a:endParaRPr>
        </a:p>
      </dgm:t>
    </dgm:pt>
    <dgm:pt modelId="{93380098-8E7E-4FB8-BA01-0D72378CD0F6}" type="parTrans" cxnId="{D0254F56-8445-401B-BDEA-A5D0C924C07C}">
      <dgm:prSet/>
      <dgm:spPr/>
      <dgm:t>
        <a:bodyPr/>
        <a:lstStyle/>
        <a:p>
          <a:endParaRPr lang="en-ZA"/>
        </a:p>
      </dgm:t>
    </dgm:pt>
    <dgm:pt modelId="{7247D926-D8A6-4DB1-97FE-0CD80E53F172}" type="sibTrans" cxnId="{D0254F56-8445-401B-BDEA-A5D0C924C07C}">
      <dgm:prSet/>
      <dgm:spPr/>
      <dgm:t>
        <a:bodyPr/>
        <a:lstStyle/>
        <a:p>
          <a:endParaRPr lang="en-ZA"/>
        </a:p>
      </dgm:t>
    </dgm:pt>
    <dgm:pt modelId="{986451EC-34D6-46FA-9B82-4B24652E4162}">
      <dgm:prSet phldrT="[Text]" custT="1"/>
      <dgm:spPr/>
      <dgm:t>
        <a:bodyPr/>
        <a:lstStyle/>
        <a:p>
          <a:r>
            <a:rPr lang="en-ZA" sz="1100" b="1" dirty="0"/>
            <a:t>Feb 2019 SOPA</a:t>
          </a:r>
        </a:p>
      </dgm:t>
    </dgm:pt>
    <dgm:pt modelId="{815130F9-3384-45CA-A7EE-A1B84960F935}" type="parTrans" cxnId="{492B7E54-9F07-4FCB-B1FF-B97F1415BEAE}">
      <dgm:prSet/>
      <dgm:spPr/>
      <dgm:t>
        <a:bodyPr/>
        <a:lstStyle/>
        <a:p>
          <a:endParaRPr lang="en-ZA"/>
        </a:p>
      </dgm:t>
    </dgm:pt>
    <dgm:pt modelId="{83B9BB5E-B0F6-4896-AAFC-CD7F2C6E78C4}" type="sibTrans" cxnId="{492B7E54-9F07-4FCB-B1FF-B97F1415BEAE}">
      <dgm:prSet/>
      <dgm:spPr/>
      <dgm:t>
        <a:bodyPr/>
        <a:lstStyle/>
        <a:p>
          <a:endParaRPr lang="en-ZA"/>
        </a:p>
      </dgm:t>
    </dgm:pt>
    <dgm:pt modelId="{2F51E801-0E2D-446E-89AA-9E7D59EDC4D2}">
      <dgm:prSet phldrT="[Text]" custT="1"/>
      <dgm:spPr/>
      <dgm:t>
        <a:bodyPr/>
        <a:lstStyle/>
        <a:p>
          <a:r>
            <a:rPr lang="en-ZA" sz="1100" b="1" dirty="0"/>
            <a:t>May 2019 </a:t>
          </a:r>
          <a:br>
            <a:rPr lang="en-ZA" sz="1100" b="1" dirty="0"/>
          </a:br>
          <a:r>
            <a:rPr lang="en-ZA" sz="1100" b="1" dirty="0"/>
            <a:t>Strategic Integrated Budgeting Engagement</a:t>
          </a:r>
        </a:p>
      </dgm:t>
    </dgm:pt>
    <dgm:pt modelId="{478EEED9-0F9C-489F-8ED9-6250A2B23108}" type="parTrans" cxnId="{19C29D46-67A4-4D5E-9434-EFC01BD10837}">
      <dgm:prSet/>
      <dgm:spPr/>
      <dgm:t>
        <a:bodyPr/>
        <a:lstStyle/>
        <a:p>
          <a:endParaRPr lang="en-ZA"/>
        </a:p>
      </dgm:t>
    </dgm:pt>
    <dgm:pt modelId="{A1CAC7B2-FA83-45F6-9FE7-70FF101C2262}" type="sibTrans" cxnId="{19C29D46-67A4-4D5E-9434-EFC01BD10837}">
      <dgm:prSet/>
      <dgm:spPr/>
      <dgm:t>
        <a:bodyPr/>
        <a:lstStyle/>
        <a:p>
          <a:endParaRPr lang="en-ZA"/>
        </a:p>
      </dgm:t>
    </dgm:pt>
    <dgm:pt modelId="{168370C2-A2F2-406F-879F-68AAB54CFAE8}">
      <dgm:prSet phldrT="[Text]"/>
      <dgm:spPr/>
      <dgm:t>
        <a:bodyPr/>
        <a:lstStyle/>
        <a:p>
          <a:endParaRPr lang="en-ZA"/>
        </a:p>
      </dgm:t>
    </dgm:pt>
    <dgm:pt modelId="{B62CAF73-FA80-441A-BDE4-81D61478DE44}" type="parTrans" cxnId="{130B3829-80CB-4E5A-80BA-C9C8BB7A071E}">
      <dgm:prSet/>
      <dgm:spPr/>
      <dgm:t>
        <a:bodyPr/>
        <a:lstStyle/>
        <a:p>
          <a:endParaRPr lang="en-ZA"/>
        </a:p>
      </dgm:t>
    </dgm:pt>
    <dgm:pt modelId="{FB99D7E9-90CC-4596-A4A3-AA9F75474529}" type="sibTrans" cxnId="{130B3829-80CB-4E5A-80BA-C9C8BB7A071E}">
      <dgm:prSet/>
      <dgm:spPr/>
      <dgm:t>
        <a:bodyPr/>
        <a:lstStyle/>
        <a:p>
          <a:endParaRPr lang="en-ZA"/>
        </a:p>
      </dgm:t>
    </dgm:pt>
    <dgm:pt modelId="{F7AE86EF-173E-40C6-8862-6C7F111E0617}">
      <dgm:prSet phldrT="[Text]" custT="1"/>
      <dgm:spPr/>
      <dgm:t>
        <a:bodyPr/>
        <a:lstStyle/>
        <a:p>
          <a:endParaRPr lang="en-ZA" sz="1100" b="1" dirty="0"/>
        </a:p>
      </dgm:t>
    </dgm:pt>
    <dgm:pt modelId="{F3C1B2BF-83F9-4F18-8142-B03723891B0D}" type="sibTrans" cxnId="{EF680CB9-6544-4D87-88E0-82B4621F1316}">
      <dgm:prSet/>
      <dgm:spPr/>
      <dgm:t>
        <a:bodyPr/>
        <a:lstStyle/>
        <a:p>
          <a:endParaRPr lang="en-ZA"/>
        </a:p>
      </dgm:t>
    </dgm:pt>
    <dgm:pt modelId="{ED307336-F1D6-43DF-B4B5-9004CB1740DD}" type="parTrans" cxnId="{EF680CB9-6544-4D87-88E0-82B4621F1316}">
      <dgm:prSet/>
      <dgm:spPr/>
      <dgm:t>
        <a:bodyPr/>
        <a:lstStyle/>
        <a:p>
          <a:endParaRPr lang="en-ZA"/>
        </a:p>
      </dgm:t>
    </dgm:pt>
    <dgm:pt modelId="{AC6C48B3-60DE-47FB-8B1D-C359FB52FF53}" type="pres">
      <dgm:prSet presAssocID="{E3D0595D-B476-4974-B867-78923BF29A1D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5BCF60B0-09FE-4704-8528-CCAAF01C0690}" type="pres">
      <dgm:prSet presAssocID="{E3D0595D-B476-4974-B867-78923BF29A1D}" presName="arrow" presStyleLbl="bgShp" presStyleIdx="0" presStyleCnt="1" custLinFactNeighborX="-323" custLinFactNeighborY="2850"/>
      <dgm:spPr>
        <a:solidFill>
          <a:srgbClr val="D0E4E6"/>
        </a:solidFill>
      </dgm:spPr>
    </dgm:pt>
    <dgm:pt modelId="{60ECD02C-B221-41C3-9A8E-AA33D627CAAE}" type="pres">
      <dgm:prSet presAssocID="{E3D0595D-B476-4974-B867-78923BF29A1D}" presName="points" presStyleCnt="0"/>
      <dgm:spPr/>
    </dgm:pt>
    <dgm:pt modelId="{7B728835-1D0F-4DE7-92EE-17203BBBD314}" type="pres">
      <dgm:prSet presAssocID="{F7AE86EF-173E-40C6-8862-6C7F111E0617}" presName="compositeA" presStyleCnt="0"/>
      <dgm:spPr/>
    </dgm:pt>
    <dgm:pt modelId="{0AC8C79C-19E0-4612-A3B9-C03942D66C4A}" type="pres">
      <dgm:prSet presAssocID="{F7AE86EF-173E-40C6-8862-6C7F111E0617}" presName="textA" presStyleLbl="revTx" presStyleIdx="0" presStyleCnt="8" custScaleX="242928" custLinFactX="100000" custLinFactNeighborX="186098" custLinFactNeighborY="-5783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2360DDE3-4FCB-4E8A-9196-71ABA2E5454C}" type="pres">
      <dgm:prSet presAssocID="{F7AE86EF-173E-40C6-8862-6C7F111E0617}" presName="circleA" presStyleLbl="node1" presStyleIdx="0" presStyleCnt="8"/>
      <dgm:spPr>
        <a:solidFill>
          <a:srgbClr val="73AFB6"/>
        </a:solidFill>
      </dgm:spPr>
    </dgm:pt>
    <dgm:pt modelId="{31C9A2FD-8DAC-45D2-BD1D-36B29AA28E10}" type="pres">
      <dgm:prSet presAssocID="{F7AE86EF-173E-40C6-8862-6C7F111E0617}" presName="spaceA" presStyleCnt="0"/>
      <dgm:spPr/>
    </dgm:pt>
    <dgm:pt modelId="{3215E53F-C7B5-4042-97DD-CB7D35ED0DA4}" type="pres">
      <dgm:prSet presAssocID="{F3C1B2BF-83F9-4F18-8142-B03723891B0D}" presName="space" presStyleCnt="0"/>
      <dgm:spPr/>
    </dgm:pt>
    <dgm:pt modelId="{0683098C-C500-4E58-9A63-291E5A09301C}" type="pres">
      <dgm:prSet presAssocID="{802A621F-0C74-449F-9B84-5CE7DE6C30D3}" presName="compositeB" presStyleCnt="0"/>
      <dgm:spPr/>
    </dgm:pt>
    <dgm:pt modelId="{C87A3FAA-0A6D-44EC-A265-0B36CEAAAD83}" type="pres">
      <dgm:prSet presAssocID="{802A621F-0C74-449F-9B84-5CE7DE6C30D3}" presName="textB" presStyleLbl="revTx" presStyleIdx="1" presStyleCnt="8" custScaleX="204616" custLinFactX="6308" custLinFactNeighborX="100000" custLinFactNeighborY="3114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054AD779-654D-4907-B920-AE4BB16F7C8B}" type="pres">
      <dgm:prSet presAssocID="{802A621F-0C74-449F-9B84-5CE7DE6C30D3}" presName="circleB" presStyleLbl="node1" presStyleIdx="1" presStyleCnt="8" custLinFactX="65159" custLinFactNeighborX="100000" custLinFactNeighborY="-2585"/>
      <dgm:spPr>
        <a:solidFill>
          <a:srgbClr val="73AFB6"/>
        </a:solidFill>
      </dgm:spPr>
    </dgm:pt>
    <dgm:pt modelId="{2125DA7C-2B17-4392-8DC3-41347FD9874A}" type="pres">
      <dgm:prSet presAssocID="{802A621F-0C74-449F-9B84-5CE7DE6C30D3}" presName="spaceB" presStyleCnt="0"/>
      <dgm:spPr/>
    </dgm:pt>
    <dgm:pt modelId="{7585DBD6-52F0-4912-8BFA-04FBB89864AF}" type="pres">
      <dgm:prSet presAssocID="{F734A44C-93BC-4D94-83C4-43A53D81C6AD}" presName="space" presStyleCnt="0"/>
      <dgm:spPr/>
    </dgm:pt>
    <dgm:pt modelId="{51BF3B24-2AED-4C8C-8DEA-0FDE13A6F435}" type="pres">
      <dgm:prSet presAssocID="{8BCF472A-49E7-4FFB-ACE4-475781CA816F}" presName="compositeA" presStyleCnt="0"/>
      <dgm:spPr/>
    </dgm:pt>
    <dgm:pt modelId="{A98DD60B-DC49-475C-BD0D-4EBAF033603A}" type="pres">
      <dgm:prSet presAssocID="{8BCF472A-49E7-4FFB-ACE4-475781CA816F}" presName="textA" presStyleLbl="revTx" presStyleIdx="2" presStyleCnt="8" custScaleX="259653" custScaleY="79170" custLinFactX="100000" custLinFactY="6646" custLinFactNeighborX="157107" custLinFactNeighborY="100000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1DA455AD-A49C-427E-8D2F-72DC861A3BB1}" type="pres">
      <dgm:prSet presAssocID="{8BCF472A-49E7-4FFB-ACE4-475781CA816F}" presName="circleA" presStyleLbl="node1" presStyleIdx="2" presStyleCnt="8" custLinFactNeighborX="98163" custLinFactNeighborY="25006"/>
      <dgm:spPr>
        <a:solidFill>
          <a:srgbClr val="73AFB6"/>
        </a:solidFill>
      </dgm:spPr>
    </dgm:pt>
    <dgm:pt modelId="{649CAD6A-041E-4E97-A797-2C243E966692}" type="pres">
      <dgm:prSet presAssocID="{8BCF472A-49E7-4FFB-ACE4-475781CA816F}" presName="spaceA" presStyleCnt="0"/>
      <dgm:spPr/>
    </dgm:pt>
    <dgm:pt modelId="{AA4F1517-BA57-448F-A5C0-46515A6010A1}" type="pres">
      <dgm:prSet presAssocID="{02E156E2-D2FE-4A7E-9A2D-F024D37E1FDD}" presName="space" presStyleCnt="0"/>
      <dgm:spPr/>
    </dgm:pt>
    <dgm:pt modelId="{98E01AC6-6F87-4F37-A2E3-631B4DB3B8E3}" type="pres">
      <dgm:prSet presAssocID="{2F7C2674-7B4A-4DE0-85BC-6E822DB03B04}" presName="compositeB" presStyleCnt="0"/>
      <dgm:spPr/>
    </dgm:pt>
    <dgm:pt modelId="{CD0F4471-0750-458E-9BE1-DE471BD4D454}" type="pres">
      <dgm:prSet presAssocID="{2F7C2674-7B4A-4DE0-85BC-6E822DB03B04}" presName="textB" presStyleLbl="revTx" presStyleIdx="3" presStyleCnt="8" custScaleX="229134" custScaleY="43230" custLinFactX="200000" custLinFactY="-39462" custLinFactNeighborX="213402" custLinFactNeighborY="-100000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50D09536-F25C-4F5F-A084-ED74BADBB05A}" type="pres">
      <dgm:prSet presAssocID="{2F7C2674-7B4A-4DE0-85BC-6E822DB03B04}" presName="circleB" presStyleLbl="node1" presStyleIdx="3" presStyleCnt="8" custLinFactNeighborX="30065" custLinFactNeighborY="-59355"/>
      <dgm:spPr>
        <a:solidFill>
          <a:srgbClr val="73AFB6"/>
        </a:solidFill>
      </dgm:spPr>
    </dgm:pt>
    <dgm:pt modelId="{F593EE7A-C193-4370-8B9D-245D87E5A2D1}" type="pres">
      <dgm:prSet presAssocID="{2F7C2674-7B4A-4DE0-85BC-6E822DB03B04}" presName="spaceB" presStyleCnt="0"/>
      <dgm:spPr/>
    </dgm:pt>
    <dgm:pt modelId="{342F256E-AC8C-4FEB-A5CD-D9C343B11743}" type="pres">
      <dgm:prSet presAssocID="{7247D926-D8A6-4DB1-97FE-0CD80E53F172}" presName="space" presStyleCnt="0"/>
      <dgm:spPr/>
    </dgm:pt>
    <dgm:pt modelId="{4E12387E-5F15-429C-A928-163FD8776A60}" type="pres">
      <dgm:prSet presAssocID="{EFDE0786-D38E-4041-8CF1-80CA52A3D720}" presName="compositeA" presStyleCnt="0"/>
      <dgm:spPr/>
    </dgm:pt>
    <dgm:pt modelId="{E3B3BAE7-DC3C-4350-BCF4-658EBE492F96}" type="pres">
      <dgm:prSet presAssocID="{EFDE0786-D38E-4041-8CF1-80CA52A3D720}" presName="textA" presStyleLbl="revTx" presStyleIdx="4" presStyleCnt="8" custScaleX="220042" custScaleY="52921" custLinFactY="27001" custLinFactNeighborX="-5545" custLinFactNeighborY="100000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C300A0A0-08ED-48B8-9040-267B33062123}" type="pres">
      <dgm:prSet presAssocID="{EFDE0786-D38E-4041-8CF1-80CA52A3D720}" presName="circleA" presStyleLbl="node1" presStyleIdx="4" presStyleCnt="8" custLinFactNeighborX="-18106" custLinFactNeighborY="47113"/>
      <dgm:spPr>
        <a:solidFill>
          <a:srgbClr val="73AFB6"/>
        </a:solidFill>
      </dgm:spPr>
    </dgm:pt>
    <dgm:pt modelId="{0BC30113-197F-45B3-93E1-45BE50772904}" type="pres">
      <dgm:prSet presAssocID="{EFDE0786-D38E-4041-8CF1-80CA52A3D720}" presName="spaceA" presStyleCnt="0"/>
      <dgm:spPr/>
    </dgm:pt>
    <dgm:pt modelId="{1967BDBA-3D99-4796-B57D-38669461CACB}" type="pres">
      <dgm:prSet presAssocID="{9F175546-1E52-43D3-BC6B-21BDC4BA9A31}" presName="space" presStyleCnt="0"/>
      <dgm:spPr/>
    </dgm:pt>
    <dgm:pt modelId="{74A54E1E-A0A0-4C50-B575-10E6EA8CFA28}" type="pres">
      <dgm:prSet presAssocID="{986451EC-34D6-46FA-9B82-4B24652E4162}" presName="compositeB" presStyleCnt="0"/>
      <dgm:spPr/>
    </dgm:pt>
    <dgm:pt modelId="{A59AD061-5F22-48E1-94A9-D744CA088D5E}" type="pres">
      <dgm:prSet presAssocID="{986451EC-34D6-46FA-9B82-4B24652E4162}" presName="textB" presStyleLbl="revTx" presStyleIdx="5" presStyleCnt="8" custScaleX="176499" custLinFactNeighborX="-11422" custLinFactNeighborY="0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AF3BDC5F-3494-47DE-9B12-0A9F70F78747}" type="pres">
      <dgm:prSet presAssocID="{986451EC-34D6-46FA-9B82-4B24652E4162}" presName="circleB" presStyleLbl="node1" presStyleIdx="5" presStyleCnt="8" custLinFactNeighborX="-30358" custLinFactNeighborY="-2388"/>
      <dgm:spPr>
        <a:solidFill>
          <a:srgbClr val="73AFB6"/>
        </a:solidFill>
      </dgm:spPr>
    </dgm:pt>
    <dgm:pt modelId="{1362E94A-0D0A-4A07-9CF8-C7D16197C292}" type="pres">
      <dgm:prSet presAssocID="{986451EC-34D6-46FA-9B82-4B24652E4162}" presName="spaceB" presStyleCnt="0"/>
      <dgm:spPr/>
    </dgm:pt>
    <dgm:pt modelId="{407E06D1-D5C3-4C11-9408-51791442B749}" type="pres">
      <dgm:prSet presAssocID="{83B9BB5E-B0F6-4896-AAFC-CD7F2C6E78C4}" presName="space" presStyleCnt="0"/>
      <dgm:spPr/>
    </dgm:pt>
    <dgm:pt modelId="{E2CF1874-3F3D-43B0-81F1-146ABA3B8439}" type="pres">
      <dgm:prSet presAssocID="{168370C2-A2F2-406F-879F-68AAB54CFAE8}" presName="compositeA" presStyleCnt="0"/>
      <dgm:spPr/>
    </dgm:pt>
    <dgm:pt modelId="{488C02BC-EA5F-44CF-B709-5D1875FF5DAE}" type="pres">
      <dgm:prSet presAssocID="{168370C2-A2F2-406F-879F-68AAB54CFAE8}" presName="textA" presStyleLbl="revTx" presStyleIdx="6" presStyleCnt="8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C27DDE77-65F0-4736-A1EA-0AA5AEEE89C8}" type="pres">
      <dgm:prSet presAssocID="{168370C2-A2F2-406F-879F-68AAB54CFAE8}" presName="circleA" presStyleLbl="node1" presStyleIdx="6" presStyleCnt="8" custLinFactNeighborX="44661" custLinFactNeighborY="-4326"/>
      <dgm:spPr>
        <a:solidFill>
          <a:srgbClr val="73AFB6"/>
        </a:solidFill>
      </dgm:spPr>
    </dgm:pt>
    <dgm:pt modelId="{44563916-0CF7-4062-A7EB-60BC0AB4B53B}" type="pres">
      <dgm:prSet presAssocID="{168370C2-A2F2-406F-879F-68AAB54CFAE8}" presName="spaceA" presStyleCnt="0"/>
      <dgm:spPr/>
    </dgm:pt>
    <dgm:pt modelId="{6BBC3150-BD3D-4AA1-BE6B-FA44DE6350FA}" type="pres">
      <dgm:prSet presAssocID="{FB99D7E9-90CC-4596-A4A3-AA9F75474529}" presName="space" presStyleCnt="0"/>
      <dgm:spPr/>
    </dgm:pt>
    <dgm:pt modelId="{266539B5-E86A-4B11-952F-8B266F37C354}" type="pres">
      <dgm:prSet presAssocID="{2F51E801-0E2D-446E-89AA-9E7D59EDC4D2}" presName="compositeB" presStyleCnt="0"/>
      <dgm:spPr/>
    </dgm:pt>
    <dgm:pt modelId="{9E3C5330-9222-4011-9442-8BF72FECBB3F}" type="pres">
      <dgm:prSet presAssocID="{2F51E801-0E2D-446E-89AA-9E7D59EDC4D2}" presName="textB" presStyleLbl="revTx" presStyleIdx="7" presStyleCnt="8" custScaleX="233858" custScaleY="103119" custLinFactNeighborX="34265" custLinFactNeighborY="-1104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2F58B0B7-4623-422F-8A3B-7B563249E188}" type="pres">
      <dgm:prSet presAssocID="{2F51E801-0E2D-446E-89AA-9E7D59EDC4D2}" presName="circleB" presStyleLbl="node1" presStyleIdx="7" presStyleCnt="8" custLinFactNeighborX="63479" custLinFactNeighborY="3153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04043590-3A2D-4563-9A27-6C02D4C4C63D}" type="pres">
      <dgm:prSet presAssocID="{2F51E801-0E2D-446E-89AA-9E7D59EDC4D2}" presName="spaceB" presStyleCnt="0"/>
      <dgm:spPr/>
    </dgm:pt>
  </dgm:ptLst>
  <dgm:cxnLst>
    <dgm:cxn modelId="{EF680CB9-6544-4D87-88E0-82B4621F1316}" srcId="{E3D0595D-B476-4974-B867-78923BF29A1D}" destId="{F7AE86EF-173E-40C6-8862-6C7F111E0617}" srcOrd="0" destOrd="0" parTransId="{ED307336-F1D6-43DF-B4B5-9004CB1740DD}" sibTransId="{F3C1B2BF-83F9-4F18-8142-B03723891B0D}"/>
    <dgm:cxn modelId="{89D7D788-82DF-4193-B6D6-1C60010A6FBE}" type="presOf" srcId="{2F7C2674-7B4A-4DE0-85BC-6E822DB03B04}" destId="{CD0F4471-0750-458E-9BE1-DE471BD4D454}" srcOrd="0" destOrd="0" presId="urn:microsoft.com/office/officeart/2005/8/layout/hProcess11"/>
    <dgm:cxn modelId="{27D470E1-B557-4426-93C3-DC209B6FCBDD}" type="presOf" srcId="{EFDE0786-D38E-4041-8CF1-80CA52A3D720}" destId="{E3B3BAE7-DC3C-4350-BCF4-658EBE492F96}" srcOrd="0" destOrd="0" presId="urn:microsoft.com/office/officeart/2005/8/layout/hProcess11"/>
    <dgm:cxn modelId="{AE4CFFC3-E6A1-490F-824A-B344E5B2E89C}" type="presOf" srcId="{168370C2-A2F2-406F-879F-68AAB54CFAE8}" destId="{488C02BC-EA5F-44CF-B709-5D1875FF5DAE}" srcOrd="0" destOrd="0" presId="urn:microsoft.com/office/officeart/2005/8/layout/hProcess11"/>
    <dgm:cxn modelId="{85087ECD-0815-4FAC-BC48-EC3A86A51097}" srcId="{E3D0595D-B476-4974-B867-78923BF29A1D}" destId="{8BCF472A-49E7-4FFB-ACE4-475781CA816F}" srcOrd="2" destOrd="0" parTransId="{79B21EA3-58DC-4A82-923E-62A90E613DD0}" sibTransId="{02E156E2-D2FE-4A7E-9A2D-F024D37E1FDD}"/>
    <dgm:cxn modelId="{00A52FDF-6D8A-4901-AF07-E3FB05404085}" type="presOf" srcId="{802A621F-0C74-449F-9B84-5CE7DE6C30D3}" destId="{C87A3FAA-0A6D-44EC-A265-0B36CEAAAD83}" srcOrd="0" destOrd="0" presId="urn:microsoft.com/office/officeart/2005/8/layout/hProcess11"/>
    <dgm:cxn modelId="{E2EFA5B2-70D5-4D59-B52B-766F45CC7B3B}" type="presOf" srcId="{8BCF472A-49E7-4FFB-ACE4-475781CA816F}" destId="{A98DD60B-DC49-475C-BD0D-4EBAF033603A}" srcOrd="0" destOrd="0" presId="urn:microsoft.com/office/officeart/2005/8/layout/hProcess11"/>
    <dgm:cxn modelId="{B7343889-7653-4BE6-A437-0570628753BC}" type="presOf" srcId="{E3D0595D-B476-4974-B867-78923BF29A1D}" destId="{AC6C48B3-60DE-47FB-8B1D-C359FB52FF53}" srcOrd="0" destOrd="0" presId="urn:microsoft.com/office/officeart/2005/8/layout/hProcess11"/>
    <dgm:cxn modelId="{D0254F56-8445-401B-BDEA-A5D0C924C07C}" srcId="{E3D0595D-B476-4974-B867-78923BF29A1D}" destId="{2F7C2674-7B4A-4DE0-85BC-6E822DB03B04}" srcOrd="3" destOrd="0" parTransId="{93380098-8E7E-4FB8-BA01-0D72378CD0F6}" sibTransId="{7247D926-D8A6-4DB1-97FE-0CD80E53F172}"/>
    <dgm:cxn modelId="{19C29D46-67A4-4D5E-9434-EFC01BD10837}" srcId="{E3D0595D-B476-4974-B867-78923BF29A1D}" destId="{2F51E801-0E2D-446E-89AA-9E7D59EDC4D2}" srcOrd="7" destOrd="0" parTransId="{478EEED9-0F9C-489F-8ED9-6250A2B23108}" sibTransId="{A1CAC7B2-FA83-45F6-9FE7-70FF101C2262}"/>
    <dgm:cxn modelId="{130B3829-80CB-4E5A-80BA-C9C8BB7A071E}" srcId="{E3D0595D-B476-4974-B867-78923BF29A1D}" destId="{168370C2-A2F2-406F-879F-68AAB54CFAE8}" srcOrd="6" destOrd="0" parTransId="{B62CAF73-FA80-441A-BDE4-81D61478DE44}" sibTransId="{FB99D7E9-90CC-4596-A4A3-AA9F75474529}"/>
    <dgm:cxn modelId="{468AF561-3FAC-4C23-BD0C-52F660D1E049}" type="presOf" srcId="{F7AE86EF-173E-40C6-8862-6C7F111E0617}" destId="{0AC8C79C-19E0-4612-A3B9-C03942D66C4A}" srcOrd="0" destOrd="0" presId="urn:microsoft.com/office/officeart/2005/8/layout/hProcess11"/>
    <dgm:cxn modelId="{819B1303-9493-40E3-B1CC-DB45043874E3}" srcId="{E3D0595D-B476-4974-B867-78923BF29A1D}" destId="{EFDE0786-D38E-4041-8CF1-80CA52A3D720}" srcOrd="4" destOrd="0" parTransId="{B3D35EEE-ADC1-42D4-BCCA-7C9FEA1F8250}" sibTransId="{9F175546-1E52-43D3-BC6B-21BDC4BA9A31}"/>
    <dgm:cxn modelId="{42988B7E-3E2E-41D4-B91E-361B712197EB}" srcId="{E3D0595D-B476-4974-B867-78923BF29A1D}" destId="{802A621F-0C74-449F-9B84-5CE7DE6C30D3}" srcOrd="1" destOrd="0" parTransId="{14BFB05E-A983-432E-B67A-C8335A8D41A7}" sibTransId="{F734A44C-93BC-4D94-83C4-43A53D81C6AD}"/>
    <dgm:cxn modelId="{A5F966C5-6EDD-4B1B-AFDD-6BD951207655}" type="presOf" srcId="{986451EC-34D6-46FA-9B82-4B24652E4162}" destId="{A59AD061-5F22-48E1-94A9-D744CA088D5E}" srcOrd="0" destOrd="0" presId="urn:microsoft.com/office/officeart/2005/8/layout/hProcess11"/>
    <dgm:cxn modelId="{492B7E54-9F07-4FCB-B1FF-B97F1415BEAE}" srcId="{E3D0595D-B476-4974-B867-78923BF29A1D}" destId="{986451EC-34D6-46FA-9B82-4B24652E4162}" srcOrd="5" destOrd="0" parTransId="{815130F9-3384-45CA-A7EE-A1B84960F935}" sibTransId="{83B9BB5E-B0F6-4896-AAFC-CD7F2C6E78C4}"/>
    <dgm:cxn modelId="{ADB62185-44B4-4E3A-9CC6-E0E91592EEC0}" type="presOf" srcId="{2F51E801-0E2D-446E-89AA-9E7D59EDC4D2}" destId="{9E3C5330-9222-4011-9442-8BF72FECBB3F}" srcOrd="0" destOrd="0" presId="urn:microsoft.com/office/officeart/2005/8/layout/hProcess11"/>
    <dgm:cxn modelId="{9B8B8E1B-1A1B-436F-876C-744CB8E6A5C8}" type="presParOf" srcId="{AC6C48B3-60DE-47FB-8B1D-C359FB52FF53}" destId="{5BCF60B0-09FE-4704-8528-CCAAF01C0690}" srcOrd="0" destOrd="0" presId="urn:microsoft.com/office/officeart/2005/8/layout/hProcess11"/>
    <dgm:cxn modelId="{88A1F270-4CAB-4E7F-8979-2D721671324F}" type="presParOf" srcId="{AC6C48B3-60DE-47FB-8B1D-C359FB52FF53}" destId="{60ECD02C-B221-41C3-9A8E-AA33D627CAAE}" srcOrd="1" destOrd="0" presId="urn:microsoft.com/office/officeart/2005/8/layout/hProcess11"/>
    <dgm:cxn modelId="{50F1991E-B60D-4B98-9B04-C668EE567434}" type="presParOf" srcId="{60ECD02C-B221-41C3-9A8E-AA33D627CAAE}" destId="{7B728835-1D0F-4DE7-92EE-17203BBBD314}" srcOrd="0" destOrd="0" presId="urn:microsoft.com/office/officeart/2005/8/layout/hProcess11"/>
    <dgm:cxn modelId="{7A3C154C-BA6A-48EA-A7B5-5691553042C7}" type="presParOf" srcId="{7B728835-1D0F-4DE7-92EE-17203BBBD314}" destId="{0AC8C79C-19E0-4612-A3B9-C03942D66C4A}" srcOrd="0" destOrd="0" presId="urn:microsoft.com/office/officeart/2005/8/layout/hProcess11"/>
    <dgm:cxn modelId="{40337643-FC47-4C66-B01F-C5AFB8B480EF}" type="presParOf" srcId="{7B728835-1D0F-4DE7-92EE-17203BBBD314}" destId="{2360DDE3-4FCB-4E8A-9196-71ABA2E5454C}" srcOrd="1" destOrd="0" presId="urn:microsoft.com/office/officeart/2005/8/layout/hProcess11"/>
    <dgm:cxn modelId="{0EA1ED5F-3139-4E25-84AE-D376E7F820CE}" type="presParOf" srcId="{7B728835-1D0F-4DE7-92EE-17203BBBD314}" destId="{31C9A2FD-8DAC-45D2-BD1D-36B29AA28E10}" srcOrd="2" destOrd="0" presId="urn:microsoft.com/office/officeart/2005/8/layout/hProcess11"/>
    <dgm:cxn modelId="{95EE285E-EC1B-4FAC-B66B-73E4EDD570B7}" type="presParOf" srcId="{60ECD02C-B221-41C3-9A8E-AA33D627CAAE}" destId="{3215E53F-C7B5-4042-97DD-CB7D35ED0DA4}" srcOrd="1" destOrd="0" presId="urn:microsoft.com/office/officeart/2005/8/layout/hProcess11"/>
    <dgm:cxn modelId="{E19D8249-A174-4077-9D38-D39B10AB513A}" type="presParOf" srcId="{60ECD02C-B221-41C3-9A8E-AA33D627CAAE}" destId="{0683098C-C500-4E58-9A63-291E5A09301C}" srcOrd="2" destOrd="0" presId="urn:microsoft.com/office/officeart/2005/8/layout/hProcess11"/>
    <dgm:cxn modelId="{52B53878-8A48-4554-B5B8-64E9BD9B8232}" type="presParOf" srcId="{0683098C-C500-4E58-9A63-291E5A09301C}" destId="{C87A3FAA-0A6D-44EC-A265-0B36CEAAAD83}" srcOrd="0" destOrd="0" presId="urn:microsoft.com/office/officeart/2005/8/layout/hProcess11"/>
    <dgm:cxn modelId="{4827D4D7-D8B3-4F96-B069-7CF27E8563F3}" type="presParOf" srcId="{0683098C-C500-4E58-9A63-291E5A09301C}" destId="{054AD779-654D-4907-B920-AE4BB16F7C8B}" srcOrd="1" destOrd="0" presId="urn:microsoft.com/office/officeart/2005/8/layout/hProcess11"/>
    <dgm:cxn modelId="{3446146E-65B3-4A12-89D4-09BA8F17AAAE}" type="presParOf" srcId="{0683098C-C500-4E58-9A63-291E5A09301C}" destId="{2125DA7C-2B17-4392-8DC3-41347FD9874A}" srcOrd="2" destOrd="0" presId="urn:microsoft.com/office/officeart/2005/8/layout/hProcess11"/>
    <dgm:cxn modelId="{010D799F-8D85-4FA7-9855-4C3AC6B9E79B}" type="presParOf" srcId="{60ECD02C-B221-41C3-9A8E-AA33D627CAAE}" destId="{7585DBD6-52F0-4912-8BFA-04FBB89864AF}" srcOrd="3" destOrd="0" presId="urn:microsoft.com/office/officeart/2005/8/layout/hProcess11"/>
    <dgm:cxn modelId="{D2A53376-B32A-41CA-83EA-DE5A938ECB71}" type="presParOf" srcId="{60ECD02C-B221-41C3-9A8E-AA33D627CAAE}" destId="{51BF3B24-2AED-4C8C-8DEA-0FDE13A6F435}" srcOrd="4" destOrd="0" presId="urn:microsoft.com/office/officeart/2005/8/layout/hProcess11"/>
    <dgm:cxn modelId="{44E099F7-767A-48DF-9CD2-5AF0938B31D3}" type="presParOf" srcId="{51BF3B24-2AED-4C8C-8DEA-0FDE13A6F435}" destId="{A98DD60B-DC49-475C-BD0D-4EBAF033603A}" srcOrd="0" destOrd="0" presId="urn:microsoft.com/office/officeart/2005/8/layout/hProcess11"/>
    <dgm:cxn modelId="{F00F982E-7A61-4B7F-BE8B-B31A1296D324}" type="presParOf" srcId="{51BF3B24-2AED-4C8C-8DEA-0FDE13A6F435}" destId="{1DA455AD-A49C-427E-8D2F-72DC861A3BB1}" srcOrd="1" destOrd="0" presId="urn:microsoft.com/office/officeart/2005/8/layout/hProcess11"/>
    <dgm:cxn modelId="{D90B98BE-54EF-4D9B-8CB9-AA8AD8F83BC4}" type="presParOf" srcId="{51BF3B24-2AED-4C8C-8DEA-0FDE13A6F435}" destId="{649CAD6A-041E-4E97-A797-2C243E966692}" srcOrd="2" destOrd="0" presId="urn:microsoft.com/office/officeart/2005/8/layout/hProcess11"/>
    <dgm:cxn modelId="{A441AA9E-0879-4E91-90E6-0A39FA5CD05A}" type="presParOf" srcId="{60ECD02C-B221-41C3-9A8E-AA33D627CAAE}" destId="{AA4F1517-BA57-448F-A5C0-46515A6010A1}" srcOrd="5" destOrd="0" presId="urn:microsoft.com/office/officeart/2005/8/layout/hProcess11"/>
    <dgm:cxn modelId="{F33C4991-10A7-422E-944B-E684385FAC06}" type="presParOf" srcId="{60ECD02C-B221-41C3-9A8E-AA33D627CAAE}" destId="{98E01AC6-6F87-4F37-A2E3-631B4DB3B8E3}" srcOrd="6" destOrd="0" presId="urn:microsoft.com/office/officeart/2005/8/layout/hProcess11"/>
    <dgm:cxn modelId="{DEDBC867-8C72-4DBC-A226-563E511C20F0}" type="presParOf" srcId="{98E01AC6-6F87-4F37-A2E3-631B4DB3B8E3}" destId="{CD0F4471-0750-458E-9BE1-DE471BD4D454}" srcOrd="0" destOrd="0" presId="urn:microsoft.com/office/officeart/2005/8/layout/hProcess11"/>
    <dgm:cxn modelId="{E212B19E-824E-41A8-A400-20D4FF14C92D}" type="presParOf" srcId="{98E01AC6-6F87-4F37-A2E3-631B4DB3B8E3}" destId="{50D09536-F25C-4F5F-A084-ED74BADBB05A}" srcOrd="1" destOrd="0" presId="urn:microsoft.com/office/officeart/2005/8/layout/hProcess11"/>
    <dgm:cxn modelId="{D75D33F5-C115-47A2-87EE-FD61588EFDDF}" type="presParOf" srcId="{98E01AC6-6F87-4F37-A2E3-631B4DB3B8E3}" destId="{F593EE7A-C193-4370-8B9D-245D87E5A2D1}" srcOrd="2" destOrd="0" presId="urn:microsoft.com/office/officeart/2005/8/layout/hProcess11"/>
    <dgm:cxn modelId="{481D6947-A66A-466C-805D-959373B0F9EA}" type="presParOf" srcId="{60ECD02C-B221-41C3-9A8E-AA33D627CAAE}" destId="{342F256E-AC8C-4FEB-A5CD-D9C343B11743}" srcOrd="7" destOrd="0" presId="urn:microsoft.com/office/officeart/2005/8/layout/hProcess11"/>
    <dgm:cxn modelId="{F6CDAA6B-9E26-406F-A70F-3D7CCC9EFAB1}" type="presParOf" srcId="{60ECD02C-B221-41C3-9A8E-AA33D627CAAE}" destId="{4E12387E-5F15-429C-A928-163FD8776A60}" srcOrd="8" destOrd="0" presId="urn:microsoft.com/office/officeart/2005/8/layout/hProcess11"/>
    <dgm:cxn modelId="{4A5E91D6-91D1-4BFD-94C8-8173CC6D076A}" type="presParOf" srcId="{4E12387E-5F15-429C-A928-163FD8776A60}" destId="{E3B3BAE7-DC3C-4350-BCF4-658EBE492F96}" srcOrd="0" destOrd="0" presId="urn:microsoft.com/office/officeart/2005/8/layout/hProcess11"/>
    <dgm:cxn modelId="{7BE451B1-A5AE-49E4-8801-1B4E0824F84A}" type="presParOf" srcId="{4E12387E-5F15-429C-A928-163FD8776A60}" destId="{C300A0A0-08ED-48B8-9040-267B33062123}" srcOrd="1" destOrd="0" presId="urn:microsoft.com/office/officeart/2005/8/layout/hProcess11"/>
    <dgm:cxn modelId="{1587DC9F-B8DF-476A-934F-16B2BD44A047}" type="presParOf" srcId="{4E12387E-5F15-429C-A928-163FD8776A60}" destId="{0BC30113-197F-45B3-93E1-45BE50772904}" srcOrd="2" destOrd="0" presId="urn:microsoft.com/office/officeart/2005/8/layout/hProcess11"/>
    <dgm:cxn modelId="{4AEEA7B4-9237-49CC-A3F0-9F1A12D36292}" type="presParOf" srcId="{60ECD02C-B221-41C3-9A8E-AA33D627CAAE}" destId="{1967BDBA-3D99-4796-B57D-38669461CACB}" srcOrd="9" destOrd="0" presId="urn:microsoft.com/office/officeart/2005/8/layout/hProcess11"/>
    <dgm:cxn modelId="{0F289CBA-9B2C-478B-ABDD-C37AFD8837A0}" type="presParOf" srcId="{60ECD02C-B221-41C3-9A8E-AA33D627CAAE}" destId="{74A54E1E-A0A0-4C50-B575-10E6EA8CFA28}" srcOrd="10" destOrd="0" presId="urn:microsoft.com/office/officeart/2005/8/layout/hProcess11"/>
    <dgm:cxn modelId="{C1D79976-FB28-4A4A-A234-9D8CCF163927}" type="presParOf" srcId="{74A54E1E-A0A0-4C50-B575-10E6EA8CFA28}" destId="{A59AD061-5F22-48E1-94A9-D744CA088D5E}" srcOrd="0" destOrd="0" presId="urn:microsoft.com/office/officeart/2005/8/layout/hProcess11"/>
    <dgm:cxn modelId="{DC76F714-782B-4FB1-BEF3-57330587037A}" type="presParOf" srcId="{74A54E1E-A0A0-4C50-B575-10E6EA8CFA28}" destId="{AF3BDC5F-3494-47DE-9B12-0A9F70F78747}" srcOrd="1" destOrd="0" presId="urn:microsoft.com/office/officeart/2005/8/layout/hProcess11"/>
    <dgm:cxn modelId="{7285DD8F-FDC4-4265-B27A-AEAC894F51DD}" type="presParOf" srcId="{74A54E1E-A0A0-4C50-B575-10E6EA8CFA28}" destId="{1362E94A-0D0A-4A07-9CF8-C7D16197C292}" srcOrd="2" destOrd="0" presId="urn:microsoft.com/office/officeart/2005/8/layout/hProcess11"/>
    <dgm:cxn modelId="{5857B782-BF54-489D-8BD7-424ED1B61863}" type="presParOf" srcId="{60ECD02C-B221-41C3-9A8E-AA33D627CAAE}" destId="{407E06D1-D5C3-4C11-9408-51791442B749}" srcOrd="11" destOrd="0" presId="urn:microsoft.com/office/officeart/2005/8/layout/hProcess11"/>
    <dgm:cxn modelId="{0B597A24-D809-4871-9483-7B2573CFD281}" type="presParOf" srcId="{60ECD02C-B221-41C3-9A8E-AA33D627CAAE}" destId="{E2CF1874-3F3D-43B0-81F1-146ABA3B8439}" srcOrd="12" destOrd="0" presId="urn:microsoft.com/office/officeart/2005/8/layout/hProcess11"/>
    <dgm:cxn modelId="{580993BB-FF9F-418A-BDC9-1D8FE2431534}" type="presParOf" srcId="{E2CF1874-3F3D-43B0-81F1-146ABA3B8439}" destId="{488C02BC-EA5F-44CF-B709-5D1875FF5DAE}" srcOrd="0" destOrd="0" presId="urn:microsoft.com/office/officeart/2005/8/layout/hProcess11"/>
    <dgm:cxn modelId="{6AF09096-1B97-4496-B817-487C1F9F6C4D}" type="presParOf" srcId="{E2CF1874-3F3D-43B0-81F1-146ABA3B8439}" destId="{C27DDE77-65F0-4736-A1EA-0AA5AEEE89C8}" srcOrd="1" destOrd="0" presId="urn:microsoft.com/office/officeart/2005/8/layout/hProcess11"/>
    <dgm:cxn modelId="{EED88E2E-7AFC-4C42-9065-0A44535813AB}" type="presParOf" srcId="{E2CF1874-3F3D-43B0-81F1-146ABA3B8439}" destId="{44563916-0CF7-4062-A7EB-60BC0AB4B53B}" srcOrd="2" destOrd="0" presId="urn:microsoft.com/office/officeart/2005/8/layout/hProcess11"/>
    <dgm:cxn modelId="{E10DD1DA-A2E4-4727-832C-FB7840DF6FFC}" type="presParOf" srcId="{60ECD02C-B221-41C3-9A8E-AA33D627CAAE}" destId="{6BBC3150-BD3D-4AA1-BE6B-FA44DE6350FA}" srcOrd="13" destOrd="0" presId="urn:microsoft.com/office/officeart/2005/8/layout/hProcess11"/>
    <dgm:cxn modelId="{0B1ED360-0D91-4A29-BC25-BE20A934D1E2}" type="presParOf" srcId="{60ECD02C-B221-41C3-9A8E-AA33D627CAAE}" destId="{266539B5-E86A-4B11-952F-8B266F37C354}" srcOrd="14" destOrd="0" presId="urn:microsoft.com/office/officeart/2005/8/layout/hProcess11"/>
    <dgm:cxn modelId="{40DF8C8B-8F1A-4712-8D63-1D683E5ED62F}" type="presParOf" srcId="{266539B5-E86A-4B11-952F-8B266F37C354}" destId="{9E3C5330-9222-4011-9442-8BF72FECBB3F}" srcOrd="0" destOrd="0" presId="urn:microsoft.com/office/officeart/2005/8/layout/hProcess11"/>
    <dgm:cxn modelId="{C8999CE6-89E5-4B5C-A539-58014BEB85D9}" type="presParOf" srcId="{266539B5-E86A-4B11-952F-8B266F37C354}" destId="{2F58B0B7-4623-422F-8A3B-7B563249E188}" srcOrd="1" destOrd="0" presId="urn:microsoft.com/office/officeart/2005/8/layout/hProcess11"/>
    <dgm:cxn modelId="{4CA3099D-F914-4AC2-A4B1-BDE9AB999EFB}" type="presParOf" srcId="{266539B5-E86A-4B11-952F-8B266F37C354}" destId="{04043590-3A2D-4563-9A27-6C02D4C4C63D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25ED41D-EAF7-4EF9-8F67-409337AA8A1D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ZA"/>
        </a:p>
      </dgm:t>
    </dgm:pt>
    <dgm:pt modelId="{72DE866F-46D1-4DAF-9358-EF77F60D7690}">
      <dgm:prSet custT="1"/>
      <dgm:spPr>
        <a:solidFill>
          <a:srgbClr val="003399"/>
        </a:solidFill>
        <a:ln>
          <a:noFill/>
        </a:ln>
      </dgm:spPr>
      <dgm:t>
        <a:bodyPr/>
        <a:lstStyle/>
        <a:p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ZA" sz="2000" b="1" dirty="0">
            <a:latin typeface="Century Gothic" pitchFamily="34" charset="0"/>
          </a:endParaRPr>
        </a:p>
        <a:p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ZA" sz="2000" b="1" dirty="0">
            <a:latin typeface="Century Gothic" pitchFamily="34" charset="0"/>
          </a:endParaRPr>
        </a:p>
        <a:p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ZA" sz="4400" b="1" dirty="0">
              <a:latin typeface="Century Gothic" pitchFamily="34" charset="0"/>
            </a:rPr>
            <a:t>PERO</a:t>
          </a:r>
        </a:p>
        <a:p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ZA" sz="1200" b="1" dirty="0">
            <a:latin typeface="Century Gothic" pitchFamily="34" charset="0"/>
          </a:endParaRPr>
        </a:p>
        <a:p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ZA" sz="1200" b="1" dirty="0">
            <a:latin typeface="Century Gothic" pitchFamily="34" charset="0"/>
          </a:endParaRPr>
        </a:p>
        <a:p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ZA" sz="2400" b="1" dirty="0">
            <a:latin typeface="Century Gothic" pitchFamily="34" charset="0"/>
          </a:endParaRPr>
        </a:p>
      </dgm:t>
    </dgm:pt>
    <dgm:pt modelId="{0F021BC5-C5A4-4BFE-B5F2-3A8982EA8960}" type="parTrans" cxnId="{FAE26F21-10EE-497A-8B0C-D53A93FE5A9F}">
      <dgm:prSet/>
      <dgm:spPr/>
      <dgm:t>
        <a:bodyPr/>
        <a:lstStyle/>
        <a:p>
          <a:endParaRPr lang="en-ZA"/>
        </a:p>
      </dgm:t>
    </dgm:pt>
    <dgm:pt modelId="{6B032165-53BA-4BB4-B6F3-A03E71D44E2A}" type="sibTrans" cxnId="{FAE26F21-10EE-497A-8B0C-D53A93FE5A9F}">
      <dgm:prSet/>
      <dgm:spPr/>
      <dgm:t>
        <a:bodyPr/>
        <a:lstStyle/>
        <a:p>
          <a:endParaRPr lang="en-ZA"/>
        </a:p>
      </dgm:t>
    </dgm:pt>
    <dgm:pt modelId="{D7A05C45-F232-4470-B5A9-EA0C6A3DA33F}">
      <dgm:prSet custT="1"/>
      <dgm:spPr>
        <a:solidFill>
          <a:srgbClr val="D1CDC9">
            <a:alpha val="89804"/>
          </a:srgbClr>
        </a:solidFill>
        <a:ln>
          <a:noFill/>
        </a:ln>
      </dgm:spPr>
      <dgm:t>
        <a:bodyPr/>
        <a:lstStyle/>
        <a:p>
          <a:pPr algn="l" rtl="0">
            <a:lnSpc>
              <a:spcPct val="120000"/>
            </a:lnSpc>
            <a:spcBef>
              <a:spcPts val="1200"/>
            </a:spcBef>
            <a:spcAft>
              <a:spcPts val="0"/>
            </a:spcAft>
          </a:pPr>
          <a:r>
            <a:rPr lang="en-ZA" sz="1600" b="1" dirty="0">
              <a:solidFill>
                <a:schemeClr val="tx1"/>
              </a:solidFill>
              <a:latin typeface="Century Gothic" pitchFamily="34" charset="0"/>
            </a:rPr>
            <a:t>Chapter 1: 	Introduction and executive summary</a:t>
          </a:r>
        </a:p>
      </dgm:t>
    </dgm:pt>
    <dgm:pt modelId="{51782273-7B6A-4021-B95B-B133FA4B9EB6}" type="parTrans" cxnId="{11922721-8C57-4968-B3B3-EC372DF4005B}">
      <dgm:prSet/>
      <dgm:spPr/>
      <dgm:t>
        <a:bodyPr/>
        <a:lstStyle/>
        <a:p>
          <a:endParaRPr lang="en-ZA"/>
        </a:p>
      </dgm:t>
    </dgm:pt>
    <dgm:pt modelId="{0937A4AB-1BFD-4CDB-BC29-3A86C0363833}" type="sibTrans" cxnId="{11922721-8C57-4968-B3B3-EC372DF4005B}">
      <dgm:prSet/>
      <dgm:spPr/>
      <dgm:t>
        <a:bodyPr/>
        <a:lstStyle/>
        <a:p>
          <a:endParaRPr lang="en-ZA"/>
        </a:p>
      </dgm:t>
    </dgm:pt>
    <dgm:pt modelId="{1A5035B3-264B-4456-8AC7-6DDAD2ED077A}">
      <dgm:prSet custT="1"/>
      <dgm:spPr>
        <a:solidFill>
          <a:srgbClr val="D1CDC9">
            <a:alpha val="89804"/>
          </a:srgbClr>
        </a:solidFill>
        <a:ln>
          <a:noFill/>
        </a:ln>
      </dgm:spPr>
      <dgm:t>
        <a:bodyPr/>
        <a:lstStyle/>
        <a:p>
          <a:pPr algn="l" rtl="0">
            <a:lnSpc>
              <a:spcPct val="120000"/>
            </a:lnSpc>
            <a:spcBef>
              <a:spcPts val="1200"/>
            </a:spcBef>
            <a:spcAft>
              <a:spcPts val="0"/>
            </a:spcAft>
          </a:pPr>
          <a:r>
            <a:rPr lang="en-US" sz="1600" b="1" dirty="0">
              <a:solidFill>
                <a:schemeClr val="tx1"/>
              </a:solidFill>
              <a:latin typeface="Century Gothic" pitchFamily="34" charset="0"/>
            </a:rPr>
            <a:t>Chapter 3: 	Development of the Western Cape economy: 		Sectoral and spatial dimensions</a:t>
          </a:r>
          <a:endParaRPr lang="en-ZA" sz="1600" b="1" dirty="0">
            <a:solidFill>
              <a:schemeClr val="tx1"/>
            </a:solidFill>
            <a:latin typeface="Century Gothic" pitchFamily="34" charset="0"/>
          </a:endParaRPr>
        </a:p>
      </dgm:t>
    </dgm:pt>
    <dgm:pt modelId="{9DFDF06E-792F-47DA-9305-4FDCB432F83B}" type="parTrans" cxnId="{D5C5C5BF-13D6-43E2-A899-50D076DD0B89}">
      <dgm:prSet/>
      <dgm:spPr/>
      <dgm:t>
        <a:bodyPr/>
        <a:lstStyle/>
        <a:p>
          <a:endParaRPr lang="en-ZA"/>
        </a:p>
      </dgm:t>
    </dgm:pt>
    <dgm:pt modelId="{63CDEF5B-717F-4FEF-B23B-D4A16D9193FE}" type="sibTrans" cxnId="{D5C5C5BF-13D6-43E2-A899-50D076DD0B89}">
      <dgm:prSet/>
      <dgm:spPr/>
      <dgm:t>
        <a:bodyPr/>
        <a:lstStyle/>
        <a:p>
          <a:endParaRPr lang="en-ZA"/>
        </a:p>
      </dgm:t>
    </dgm:pt>
    <dgm:pt modelId="{A0C63113-60A3-4AF7-93D9-F500361FB301}">
      <dgm:prSet custT="1"/>
      <dgm:spPr>
        <a:solidFill>
          <a:srgbClr val="D1CDC9">
            <a:alpha val="89804"/>
          </a:srgbClr>
        </a:solidFill>
        <a:ln>
          <a:noFill/>
        </a:ln>
      </dgm:spPr>
      <dgm:t>
        <a:bodyPr/>
        <a:lstStyle/>
        <a:p>
          <a:pPr algn="l" rtl="0">
            <a:lnSpc>
              <a:spcPct val="120000"/>
            </a:lnSpc>
            <a:spcBef>
              <a:spcPts val="1200"/>
            </a:spcBef>
            <a:spcAft>
              <a:spcPts val="0"/>
            </a:spcAft>
          </a:pPr>
          <a:r>
            <a:rPr lang="en-US" sz="1600" b="1" dirty="0">
              <a:solidFill>
                <a:schemeClr val="tx1"/>
              </a:solidFill>
              <a:latin typeface="Century Gothic" pitchFamily="34" charset="0"/>
            </a:rPr>
            <a:t>Chapter 2: 	Macroeconomic performance and outlook</a:t>
          </a:r>
          <a:endParaRPr lang="en-ZA" sz="1600" b="1" dirty="0">
            <a:solidFill>
              <a:schemeClr val="tx1"/>
            </a:solidFill>
            <a:latin typeface="Century Gothic" pitchFamily="34" charset="0"/>
          </a:endParaRPr>
        </a:p>
      </dgm:t>
    </dgm:pt>
    <dgm:pt modelId="{A10D12E1-8906-44F3-A5AB-87B8E6ADBF63}" type="parTrans" cxnId="{E00C6C88-CB5B-40DF-9D75-7ED451AD3F53}">
      <dgm:prSet/>
      <dgm:spPr/>
      <dgm:t>
        <a:bodyPr/>
        <a:lstStyle/>
        <a:p>
          <a:endParaRPr lang="en-ZA"/>
        </a:p>
      </dgm:t>
    </dgm:pt>
    <dgm:pt modelId="{8F03922D-9640-4485-BE36-10F3C6358F25}" type="sibTrans" cxnId="{E00C6C88-CB5B-40DF-9D75-7ED451AD3F53}">
      <dgm:prSet/>
      <dgm:spPr/>
      <dgm:t>
        <a:bodyPr/>
        <a:lstStyle/>
        <a:p>
          <a:endParaRPr lang="en-ZA"/>
        </a:p>
      </dgm:t>
    </dgm:pt>
    <dgm:pt modelId="{FFE5EA85-F399-43D9-AA0D-C10AA41F2181}">
      <dgm:prSet custT="1"/>
      <dgm:spPr>
        <a:solidFill>
          <a:srgbClr val="D1CDC9">
            <a:alpha val="89804"/>
          </a:srgbClr>
        </a:solidFill>
        <a:ln>
          <a:noFill/>
        </a:ln>
      </dgm:spPr>
      <dgm:t>
        <a:bodyPr/>
        <a:lstStyle/>
        <a:p>
          <a:pPr algn="l" rtl="0">
            <a:lnSpc>
              <a:spcPct val="120000"/>
            </a:lnSpc>
            <a:spcBef>
              <a:spcPts val="1200"/>
            </a:spcBef>
            <a:spcAft>
              <a:spcPts val="0"/>
            </a:spcAft>
          </a:pPr>
          <a:r>
            <a:rPr lang="en-ZA" sz="1600" b="1" dirty="0">
              <a:solidFill>
                <a:schemeClr val="tx1"/>
              </a:solidFill>
              <a:latin typeface="Century Gothic" pitchFamily="34" charset="0"/>
            </a:rPr>
            <a:t>Chapter 5: 	Socio-economic developments in the 			Western Cape</a:t>
          </a:r>
        </a:p>
      </dgm:t>
    </dgm:pt>
    <dgm:pt modelId="{64420293-5882-4049-AEEB-464F9C3AD10A}" type="parTrans" cxnId="{47222CE3-5612-4551-A4B9-A8316248543B}">
      <dgm:prSet/>
      <dgm:spPr/>
      <dgm:t>
        <a:bodyPr/>
        <a:lstStyle/>
        <a:p>
          <a:endParaRPr lang="en-ZA"/>
        </a:p>
      </dgm:t>
    </dgm:pt>
    <dgm:pt modelId="{5506FE06-ADA2-4AD4-BC37-B126708B15E9}" type="sibTrans" cxnId="{47222CE3-5612-4551-A4B9-A8316248543B}">
      <dgm:prSet/>
      <dgm:spPr/>
      <dgm:t>
        <a:bodyPr/>
        <a:lstStyle/>
        <a:p>
          <a:endParaRPr lang="en-ZA"/>
        </a:p>
      </dgm:t>
    </dgm:pt>
    <dgm:pt modelId="{4F7E43B2-CA1D-4E9A-A9A9-F5A1CD21D94C}">
      <dgm:prSet custT="1"/>
      <dgm:spPr>
        <a:solidFill>
          <a:srgbClr val="D1CDC9">
            <a:alpha val="89804"/>
          </a:srgbClr>
        </a:solidFill>
        <a:ln>
          <a:noFill/>
        </a:ln>
      </dgm:spPr>
      <dgm:t>
        <a:bodyPr/>
        <a:lstStyle/>
        <a:p>
          <a:pPr algn="l" rtl="0">
            <a:lnSpc>
              <a:spcPct val="120000"/>
            </a:lnSpc>
            <a:spcBef>
              <a:spcPts val="1200"/>
            </a:spcBef>
            <a:spcAft>
              <a:spcPts val="0"/>
            </a:spcAft>
          </a:pPr>
          <a:r>
            <a:rPr lang="en-US" sz="1600" b="1" dirty="0">
              <a:solidFill>
                <a:schemeClr val="tx1"/>
              </a:solidFill>
              <a:latin typeface="Century Gothic" pitchFamily="34" charset="0"/>
            </a:rPr>
            <a:t>Chapter 4: 	Labour market dynamics</a:t>
          </a:r>
          <a:endParaRPr lang="en-ZA" sz="1600" b="1" dirty="0">
            <a:solidFill>
              <a:schemeClr val="tx1"/>
            </a:solidFill>
            <a:latin typeface="Century Gothic" pitchFamily="34" charset="0"/>
          </a:endParaRPr>
        </a:p>
      </dgm:t>
    </dgm:pt>
    <dgm:pt modelId="{8BF156B5-1CF8-4914-AFDD-717C5BB036F1}" type="parTrans" cxnId="{F5BD967C-0589-48C2-99CC-9E60D98341A4}">
      <dgm:prSet/>
      <dgm:spPr/>
      <dgm:t>
        <a:bodyPr/>
        <a:lstStyle/>
        <a:p>
          <a:endParaRPr lang="en-ZA"/>
        </a:p>
      </dgm:t>
    </dgm:pt>
    <dgm:pt modelId="{CFE67CD2-6895-40F3-90F7-237F8B882B87}" type="sibTrans" cxnId="{F5BD967C-0589-48C2-99CC-9E60D98341A4}">
      <dgm:prSet/>
      <dgm:spPr/>
      <dgm:t>
        <a:bodyPr/>
        <a:lstStyle/>
        <a:p>
          <a:endParaRPr lang="en-ZA"/>
        </a:p>
      </dgm:t>
    </dgm:pt>
    <dgm:pt modelId="{E571CC7E-6BF5-4C71-98B2-4D9D9B74FBB6}" type="pres">
      <dgm:prSet presAssocID="{B25ED41D-EAF7-4EF9-8F67-409337AA8A1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A850CB71-A03F-4B42-8C66-8A1F07FA311F}" type="pres">
      <dgm:prSet presAssocID="{72DE866F-46D1-4DAF-9358-EF77F60D7690}" presName="linNode" presStyleCnt="0"/>
      <dgm:spPr/>
    </dgm:pt>
    <dgm:pt modelId="{3B1807DF-E1AB-44AF-92F9-2580B40524BF}" type="pres">
      <dgm:prSet presAssocID="{72DE866F-46D1-4DAF-9358-EF77F60D7690}" presName="parentText" presStyleLbl="node1" presStyleIdx="0" presStyleCnt="1" custScaleX="69247" custScaleY="100098">
        <dgm:presLayoutVars>
          <dgm:chMax val="1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69C8FC10-AB30-418D-98AD-31BF21DDAF72}" type="pres">
      <dgm:prSet presAssocID="{72DE866F-46D1-4DAF-9358-EF77F60D7690}" presName="descendantText" presStyleLbl="alignAccFollowNode1" presStyleIdx="0" presStyleCnt="1" custScaleX="117413" custScaleY="125122" custLinFactNeighborX="34" custLinFactNeighborY="-744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3EA4D93F-561F-42EB-9CF8-27CEB99224B0}" type="presOf" srcId="{A0C63113-60A3-4AF7-93D9-F500361FB301}" destId="{69C8FC10-AB30-418D-98AD-31BF21DDAF72}" srcOrd="0" destOrd="1" presId="urn:microsoft.com/office/officeart/2005/8/layout/vList5"/>
    <dgm:cxn modelId="{D5C5C5BF-13D6-43E2-A899-50D076DD0B89}" srcId="{72DE866F-46D1-4DAF-9358-EF77F60D7690}" destId="{1A5035B3-264B-4456-8AC7-6DDAD2ED077A}" srcOrd="2" destOrd="0" parTransId="{9DFDF06E-792F-47DA-9305-4FDCB432F83B}" sibTransId="{63CDEF5B-717F-4FEF-B23B-D4A16D9193FE}"/>
    <dgm:cxn modelId="{AB1B8790-3DA2-4425-A99A-4E71C71F6372}" type="presOf" srcId="{D7A05C45-F232-4470-B5A9-EA0C6A3DA33F}" destId="{69C8FC10-AB30-418D-98AD-31BF21DDAF72}" srcOrd="0" destOrd="0" presId="urn:microsoft.com/office/officeart/2005/8/layout/vList5"/>
    <dgm:cxn modelId="{47222CE3-5612-4551-A4B9-A8316248543B}" srcId="{72DE866F-46D1-4DAF-9358-EF77F60D7690}" destId="{FFE5EA85-F399-43D9-AA0D-C10AA41F2181}" srcOrd="4" destOrd="0" parTransId="{64420293-5882-4049-AEEB-464F9C3AD10A}" sibTransId="{5506FE06-ADA2-4AD4-BC37-B126708B15E9}"/>
    <dgm:cxn modelId="{23CCF6A7-6323-469B-8688-28695011E6D9}" type="presOf" srcId="{72DE866F-46D1-4DAF-9358-EF77F60D7690}" destId="{3B1807DF-E1AB-44AF-92F9-2580B40524BF}" srcOrd="0" destOrd="0" presId="urn:microsoft.com/office/officeart/2005/8/layout/vList5"/>
    <dgm:cxn modelId="{6439FB15-40E7-40A8-A3CF-AC75C5F81D44}" type="presOf" srcId="{1A5035B3-264B-4456-8AC7-6DDAD2ED077A}" destId="{69C8FC10-AB30-418D-98AD-31BF21DDAF72}" srcOrd="0" destOrd="2" presId="urn:microsoft.com/office/officeart/2005/8/layout/vList5"/>
    <dgm:cxn modelId="{4E5E9487-E4CD-4776-9C1E-041A90C580C5}" type="presOf" srcId="{FFE5EA85-F399-43D9-AA0D-C10AA41F2181}" destId="{69C8FC10-AB30-418D-98AD-31BF21DDAF72}" srcOrd="0" destOrd="4" presId="urn:microsoft.com/office/officeart/2005/8/layout/vList5"/>
    <dgm:cxn modelId="{F5BD967C-0589-48C2-99CC-9E60D98341A4}" srcId="{72DE866F-46D1-4DAF-9358-EF77F60D7690}" destId="{4F7E43B2-CA1D-4E9A-A9A9-F5A1CD21D94C}" srcOrd="3" destOrd="0" parTransId="{8BF156B5-1CF8-4914-AFDD-717C5BB036F1}" sibTransId="{CFE67CD2-6895-40F3-90F7-237F8B882B87}"/>
    <dgm:cxn modelId="{11922721-8C57-4968-B3B3-EC372DF4005B}" srcId="{72DE866F-46D1-4DAF-9358-EF77F60D7690}" destId="{D7A05C45-F232-4470-B5A9-EA0C6A3DA33F}" srcOrd="0" destOrd="0" parTransId="{51782273-7B6A-4021-B95B-B133FA4B9EB6}" sibTransId="{0937A4AB-1BFD-4CDB-BC29-3A86C0363833}"/>
    <dgm:cxn modelId="{8725A223-6175-49AE-B04B-E67651276349}" type="presOf" srcId="{B25ED41D-EAF7-4EF9-8F67-409337AA8A1D}" destId="{E571CC7E-6BF5-4C71-98B2-4D9D9B74FBB6}" srcOrd="0" destOrd="0" presId="urn:microsoft.com/office/officeart/2005/8/layout/vList5"/>
    <dgm:cxn modelId="{E00C6C88-CB5B-40DF-9D75-7ED451AD3F53}" srcId="{72DE866F-46D1-4DAF-9358-EF77F60D7690}" destId="{A0C63113-60A3-4AF7-93D9-F500361FB301}" srcOrd="1" destOrd="0" parTransId="{A10D12E1-8906-44F3-A5AB-87B8E6ADBF63}" sibTransId="{8F03922D-9640-4485-BE36-10F3C6358F25}"/>
    <dgm:cxn modelId="{DDA9ECC2-CE4F-4934-9C12-01CE6D5B5E00}" type="presOf" srcId="{4F7E43B2-CA1D-4E9A-A9A9-F5A1CD21D94C}" destId="{69C8FC10-AB30-418D-98AD-31BF21DDAF72}" srcOrd="0" destOrd="3" presId="urn:microsoft.com/office/officeart/2005/8/layout/vList5"/>
    <dgm:cxn modelId="{FAE26F21-10EE-497A-8B0C-D53A93FE5A9F}" srcId="{B25ED41D-EAF7-4EF9-8F67-409337AA8A1D}" destId="{72DE866F-46D1-4DAF-9358-EF77F60D7690}" srcOrd="0" destOrd="0" parTransId="{0F021BC5-C5A4-4BFE-B5F2-3A8982EA8960}" sibTransId="{6B032165-53BA-4BB4-B6F3-A03E71D44E2A}"/>
    <dgm:cxn modelId="{7EBAD279-DEFA-44BA-87C9-D6103C106F68}" type="presParOf" srcId="{E571CC7E-6BF5-4C71-98B2-4D9D9B74FBB6}" destId="{A850CB71-A03F-4B42-8C66-8A1F07FA311F}" srcOrd="0" destOrd="0" presId="urn:microsoft.com/office/officeart/2005/8/layout/vList5"/>
    <dgm:cxn modelId="{B6E0D4D4-C877-4E7E-AC95-CD1E4D40D553}" type="presParOf" srcId="{A850CB71-A03F-4B42-8C66-8A1F07FA311F}" destId="{3B1807DF-E1AB-44AF-92F9-2580B40524BF}" srcOrd="0" destOrd="0" presId="urn:microsoft.com/office/officeart/2005/8/layout/vList5"/>
    <dgm:cxn modelId="{F0991EAA-9A26-4AC1-BC5B-3D9A2AC3128B}" type="presParOf" srcId="{A850CB71-A03F-4B42-8C66-8A1F07FA311F}" destId="{69C8FC10-AB30-418D-98AD-31BF21DDAF72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25ED41D-EAF7-4EF9-8F67-409337AA8A1D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ZA"/>
        </a:p>
      </dgm:t>
    </dgm:pt>
    <dgm:pt modelId="{72DE866F-46D1-4DAF-9358-EF77F60D7690}">
      <dgm:prSet custT="1"/>
      <dgm:spPr>
        <a:solidFill>
          <a:srgbClr val="003399"/>
        </a:solidFill>
        <a:ln>
          <a:noFill/>
        </a:ln>
      </dgm:spPr>
      <dgm:t>
        <a:bodyPr/>
        <a:lstStyle/>
        <a:p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ZA" sz="2000" b="1" dirty="0">
            <a:latin typeface="Century Gothic" pitchFamily="34" charset="0"/>
          </a:endParaRPr>
        </a:p>
        <a:p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ZA" sz="3200" b="1" dirty="0">
            <a:latin typeface="Century Gothic" pitchFamily="34" charset="0"/>
          </a:endParaRPr>
        </a:p>
        <a:p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ZA" sz="3200" b="1" dirty="0">
            <a:latin typeface="Century Gothic" pitchFamily="34" charset="0"/>
          </a:endParaRPr>
        </a:p>
        <a:p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ZA" sz="3200" b="1" dirty="0">
            <a:latin typeface="Century Gothic" pitchFamily="34" charset="0"/>
          </a:endParaRPr>
        </a:p>
        <a:p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ZA" sz="3200" b="1" dirty="0">
              <a:latin typeface="Century Gothic" pitchFamily="34" charset="0"/>
            </a:rPr>
            <a:t>MERO</a:t>
          </a:r>
        </a:p>
        <a:p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ZA" sz="2000" b="1" dirty="0">
            <a:latin typeface="Century Gothic" pitchFamily="34" charset="0"/>
          </a:endParaRPr>
        </a:p>
        <a:p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ZA" sz="2000" b="1" dirty="0">
            <a:latin typeface="Century Gothic" pitchFamily="34" charset="0"/>
          </a:endParaRPr>
        </a:p>
        <a:p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ZA" sz="2000" b="1" dirty="0">
            <a:latin typeface="Century Gothic" pitchFamily="34" charset="0"/>
          </a:endParaRPr>
        </a:p>
        <a:p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ZA" sz="2000" b="1" dirty="0">
            <a:latin typeface="Century Gothic" pitchFamily="34" charset="0"/>
          </a:endParaRPr>
        </a:p>
        <a:p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ZA" sz="2000" b="1" dirty="0">
            <a:latin typeface="Century Gothic" pitchFamily="34" charset="0"/>
          </a:endParaRPr>
        </a:p>
        <a:p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ZA" sz="2400" b="1" dirty="0">
            <a:latin typeface="Century Gothic" pitchFamily="34" charset="0"/>
          </a:endParaRPr>
        </a:p>
      </dgm:t>
    </dgm:pt>
    <dgm:pt modelId="{6B032165-53BA-4BB4-B6F3-A03E71D44E2A}" type="sibTrans" cxnId="{FAE26F21-10EE-497A-8B0C-D53A93FE5A9F}">
      <dgm:prSet/>
      <dgm:spPr/>
      <dgm:t>
        <a:bodyPr/>
        <a:lstStyle/>
        <a:p>
          <a:endParaRPr lang="en-ZA"/>
        </a:p>
      </dgm:t>
    </dgm:pt>
    <dgm:pt modelId="{0F021BC5-C5A4-4BFE-B5F2-3A8982EA8960}" type="parTrans" cxnId="{FAE26F21-10EE-497A-8B0C-D53A93FE5A9F}">
      <dgm:prSet/>
      <dgm:spPr/>
      <dgm:t>
        <a:bodyPr/>
        <a:lstStyle/>
        <a:p>
          <a:endParaRPr lang="en-ZA"/>
        </a:p>
      </dgm:t>
    </dgm:pt>
    <dgm:pt modelId="{3417E484-1C63-4063-8BA5-231E50FF72D1}">
      <dgm:prSet custT="1"/>
      <dgm:spPr>
        <a:solidFill>
          <a:srgbClr val="D1CDC9">
            <a:alpha val="89804"/>
          </a:srgbClr>
        </a:solidFill>
        <a:ln>
          <a:noFill/>
        </a:ln>
      </dgm:spPr>
      <dgm:t>
        <a:bodyPr/>
        <a:lstStyle/>
        <a:p>
          <a:pPr>
            <a:lnSpc>
              <a:spcPct val="120000"/>
            </a:lnSpc>
            <a:spcBef>
              <a:spcPts val="300"/>
            </a:spcBef>
          </a:pPr>
          <a:r>
            <a:rPr lang="en-US" sz="1400" b="1" dirty="0">
              <a:solidFill>
                <a:schemeClr val="tx1"/>
              </a:solidFill>
              <a:latin typeface="Century Gothic" pitchFamily="34" charset="0"/>
            </a:rPr>
            <a:t>Chapter 1: Regional economic review &amp; outlook </a:t>
          </a:r>
          <a:endParaRPr lang="en-ZA" sz="1400" b="1" dirty="0">
            <a:solidFill>
              <a:schemeClr val="tx1"/>
            </a:solidFill>
            <a:latin typeface="Century Gothic" pitchFamily="34" charset="0"/>
          </a:endParaRPr>
        </a:p>
      </dgm:t>
    </dgm:pt>
    <dgm:pt modelId="{3B0E09F7-F8FB-4699-BD8F-D4E1447A73CA}" type="parTrans" cxnId="{2AA7E02C-7B10-48B7-9AAA-3146E8FD0450}">
      <dgm:prSet/>
      <dgm:spPr/>
      <dgm:t>
        <a:bodyPr/>
        <a:lstStyle/>
        <a:p>
          <a:endParaRPr lang="en-ZA"/>
        </a:p>
      </dgm:t>
    </dgm:pt>
    <dgm:pt modelId="{42E8D38B-FA77-4F9A-A7CF-AC5AC3266383}" type="sibTrans" cxnId="{2AA7E02C-7B10-48B7-9AAA-3146E8FD0450}">
      <dgm:prSet/>
      <dgm:spPr/>
      <dgm:t>
        <a:bodyPr/>
        <a:lstStyle/>
        <a:p>
          <a:endParaRPr lang="en-ZA"/>
        </a:p>
      </dgm:t>
    </dgm:pt>
    <dgm:pt modelId="{FA5F6089-A70A-4A62-B2CC-90BE05C7487D}">
      <dgm:prSet custT="1"/>
      <dgm:spPr>
        <a:solidFill>
          <a:srgbClr val="D1CDC9">
            <a:alpha val="89804"/>
          </a:srgbClr>
        </a:solidFill>
        <a:ln>
          <a:noFill/>
        </a:ln>
      </dgm:spPr>
      <dgm:t>
        <a:bodyPr/>
        <a:lstStyle/>
        <a:p>
          <a:pPr>
            <a:lnSpc>
              <a:spcPct val="120000"/>
            </a:lnSpc>
            <a:spcBef>
              <a:spcPts val="300"/>
            </a:spcBef>
          </a:pPr>
          <a:r>
            <a:rPr lang="en-US" sz="1400" b="1" dirty="0">
              <a:solidFill>
                <a:schemeClr val="tx1"/>
              </a:solidFill>
              <a:latin typeface="Century Gothic" pitchFamily="34" charset="0"/>
            </a:rPr>
            <a:t>Chapter 2: </a:t>
          </a:r>
          <a:r>
            <a:rPr lang="en-US" sz="1400" b="1">
              <a:solidFill>
                <a:schemeClr val="tx1"/>
              </a:solidFill>
              <a:latin typeface="Century Gothic" pitchFamily="34" charset="0"/>
            </a:rPr>
            <a:t>Sector Growth, </a:t>
          </a:r>
          <a:r>
            <a:rPr lang="en-US" sz="1400" b="1" dirty="0">
              <a:solidFill>
                <a:schemeClr val="tx1"/>
              </a:solidFill>
              <a:latin typeface="Century Gothic" pitchFamily="34" charset="0"/>
            </a:rPr>
            <a:t>Employment and Skills Per Municipality</a:t>
          </a:r>
          <a:endParaRPr lang="en-ZA" sz="1400" b="1" dirty="0">
            <a:solidFill>
              <a:schemeClr val="tx1"/>
            </a:solidFill>
            <a:latin typeface="Century Gothic" pitchFamily="34" charset="0"/>
          </a:endParaRPr>
        </a:p>
      </dgm:t>
    </dgm:pt>
    <dgm:pt modelId="{8D8D89B7-B57C-4E42-93B7-282ACE204264}" type="parTrans" cxnId="{5AD68D17-43FA-4F43-A66A-D1F19524672C}">
      <dgm:prSet/>
      <dgm:spPr/>
      <dgm:t>
        <a:bodyPr/>
        <a:lstStyle/>
        <a:p>
          <a:endParaRPr lang="en-ZA"/>
        </a:p>
      </dgm:t>
    </dgm:pt>
    <dgm:pt modelId="{A21A8B65-BA2E-40BE-B91E-FE5BD3848E66}" type="sibTrans" cxnId="{5AD68D17-43FA-4F43-A66A-D1F19524672C}">
      <dgm:prSet/>
      <dgm:spPr/>
      <dgm:t>
        <a:bodyPr/>
        <a:lstStyle/>
        <a:p>
          <a:endParaRPr lang="en-ZA"/>
        </a:p>
      </dgm:t>
    </dgm:pt>
    <dgm:pt modelId="{0C63FA18-393D-41DE-BFD0-FE94E5C2D494}">
      <dgm:prSet custT="1"/>
      <dgm:spPr>
        <a:solidFill>
          <a:srgbClr val="D1CDC9">
            <a:alpha val="89804"/>
          </a:srgbClr>
        </a:solidFill>
        <a:ln>
          <a:noFill/>
        </a:ln>
      </dgm:spPr>
      <dgm:t>
        <a:bodyPr/>
        <a:lstStyle/>
        <a:p>
          <a:pPr>
            <a:lnSpc>
              <a:spcPct val="120000"/>
            </a:lnSpc>
            <a:spcBef>
              <a:spcPts val="300"/>
            </a:spcBef>
          </a:pPr>
          <a:r>
            <a:rPr lang="en-ZA" sz="1400" b="1" dirty="0">
              <a:solidFill>
                <a:schemeClr val="tx1"/>
              </a:solidFill>
              <a:latin typeface="Century Gothic" pitchFamily="34" charset="0"/>
            </a:rPr>
            <a:t>Chapter 3: </a:t>
          </a:r>
          <a:r>
            <a:rPr lang="en-US" sz="1400" b="1" dirty="0">
              <a:solidFill>
                <a:schemeClr val="tx1"/>
              </a:solidFill>
              <a:latin typeface="Century Gothic" pitchFamily="34" charset="0"/>
            </a:rPr>
            <a:t>Agricultural overview</a:t>
          </a:r>
          <a:endParaRPr lang="en-ZA" sz="1400" b="1" dirty="0">
            <a:solidFill>
              <a:schemeClr val="tx1"/>
            </a:solidFill>
            <a:latin typeface="Century Gothic" pitchFamily="34" charset="0"/>
          </a:endParaRPr>
        </a:p>
      </dgm:t>
    </dgm:pt>
    <dgm:pt modelId="{236DE2AC-88B9-457B-BEA5-DCF31BB73A7E}" type="parTrans" cxnId="{05B96652-8333-4BAF-9C67-BC83E49355E2}">
      <dgm:prSet/>
      <dgm:spPr/>
      <dgm:t>
        <a:bodyPr/>
        <a:lstStyle/>
        <a:p>
          <a:endParaRPr lang="en-ZA"/>
        </a:p>
      </dgm:t>
    </dgm:pt>
    <dgm:pt modelId="{19FF2FDD-558D-4722-8464-C208CF3B4BA0}" type="sibTrans" cxnId="{05B96652-8333-4BAF-9C67-BC83E49355E2}">
      <dgm:prSet/>
      <dgm:spPr/>
      <dgm:t>
        <a:bodyPr/>
        <a:lstStyle/>
        <a:p>
          <a:endParaRPr lang="en-ZA"/>
        </a:p>
      </dgm:t>
    </dgm:pt>
    <dgm:pt modelId="{D7C1574B-D0A6-4632-8600-F4C0B14EB854}">
      <dgm:prSet custT="1"/>
      <dgm:spPr>
        <a:solidFill>
          <a:srgbClr val="D1CDC9">
            <a:alpha val="89804"/>
          </a:srgbClr>
        </a:solidFill>
        <a:ln>
          <a:noFill/>
        </a:ln>
      </dgm:spPr>
      <dgm:t>
        <a:bodyPr/>
        <a:lstStyle/>
        <a:p>
          <a:pPr>
            <a:lnSpc>
              <a:spcPct val="120000"/>
            </a:lnSpc>
            <a:spcBef>
              <a:spcPts val="300"/>
            </a:spcBef>
          </a:pPr>
          <a:r>
            <a:rPr lang="en-US" sz="1400" b="1" dirty="0">
              <a:solidFill>
                <a:schemeClr val="tx1"/>
              </a:solidFill>
              <a:latin typeface="Century Gothic" pitchFamily="34" charset="0"/>
            </a:rPr>
            <a:t>Chapter 4: </a:t>
          </a:r>
          <a:r>
            <a:rPr lang="en-ZA" sz="1400" b="1" dirty="0">
              <a:solidFill>
                <a:schemeClr val="tx1"/>
              </a:solidFill>
              <a:latin typeface="Century Gothic" pitchFamily="34" charset="0"/>
            </a:rPr>
            <a:t>Municipal Infrastructure</a:t>
          </a:r>
        </a:p>
      </dgm:t>
    </dgm:pt>
    <dgm:pt modelId="{25CB3FB7-1BAA-4501-9911-82650BEF784A}" type="parTrans" cxnId="{0E7438A7-1C8B-48DC-9658-C4B74996F5D6}">
      <dgm:prSet/>
      <dgm:spPr/>
      <dgm:t>
        <a:bodyPr/>
        <a:lstStyle/>
        <a:p>
          <a:endParaRPr lang="en-ZA"/>
        </a:p>
      </dgm:t>
    </dgm:pt>
    <dgm:pt modelId="{D396DA86-594B-4899-B89F-275A4CEA114E}" type="sibTrans" cxnId="{0E7438A7-1C8B-48DC-9658-C4B74996F5D6}">
      <dgm:prSet/>
      <dgm:spPr/>
      <dgm:t>
        <a:bodyPr/>
        <a:lstStyle/>
        <a:p>
          <a:endParaRPr lang="en-ZA"/>
        </a:p>
      </dgm:t>
    </dgm:pt>
    <dgm:pt modelId="{A41B6ADF-D3D1-4196-9B51-4446C9515CE2}">
      <dgm:prSet custT="1"/>
      <dgm:spPr>
        <a:solidFill>
          <a:srgbClr val="D1CDC9">
            <a:alpha val="89804"/>
          </a:srgbClr>
        </a:solidFill>
        <a:ln>
          <a:noFill/>
        </a:ln>
      </dgm:spPr>
      <dgm:t>
        <a:bodyPr/>
        <a:lstStyle/>
        <a:p>
          <a:pPr>
            <a:lnSpc>
              <a:spcPct val="120000"/>
            </a:lnSpc>
            <a:spcBef>
              <a:spcPts val="300"/>
            </a:spcBef>
          </a:pPr>
          <a:r>
            <a:rPr lang="en-US" sz="1400" b="1" dirty="0">
              <a:solidFill>
                <a:schemeClr val="tx1"/>
              </a:solidFill>
              <a:latin typeface="Century Gothic" pitchFamily="34" charset="0"/>
            </a:rPr>
            <a:t>Chapter 5: </a:t>
          </a:r>
          <a:r>
            <a:rPr lang="en-ZA" sz="1400" b="1" dirty="0">
              <a:solidFill>
                <a:schemeClr val="tx1"/>
              </a:solidFill>
              <a:latin typeface="Century Gothic" pitchFamily="34" charset="0"/>
            </a:rPr>
            <a:t>Socio-economic climate &amp; development indicators</a:t>
          </a:r>
        </a:p>
      </dgm:t>
    </dgm:pt>
    <dgm:pt modelId="{D7DDEA31-789B-4572-8598-4A8F3FD58168}" type="parTrans" cxnId="{C7378688-7A04-43C3-BC4C-1C027FF5E62D}">
      <dgm:prSet/>
      <dgm:spPr/>
      <dgm:t>
        <a:bodyPr/>
        <a:lstStyle/>
        <a:p>
          <a:endParaRPr lang="en-ZA"/>
        </a:p>
      </dgm:t>
    </dgm:pt>
    <dgm:pt modelId="{15096372-6645-49D2-98BA-5FC6FDAF044C}" type="sibTrans" cxnId="{C7378688-7A04-43C3-BC4C-1C027FF5E62D}">
      <dgm:prSet/>
      <dgm:spPr/>
      <dgm:t>
        <a:bodyPr/>
        <a:lstStyle/>
        <a:p>
          <a:endParaRPr lang="en-ZA"/>
        </a:p>
      </dgm:t>
    </dgm:pt>
    <dgm:pt modelId="{D395111B-E6BF-49BD-9B7E-A6E2BBFA9DCA}">
      <dgm:prSet custT="1"/>
      <dgm:spPr>
        <a:solidFill>
          <a:srgbClr val="D1CDC9">
            <a:alpha val="89804"/>
          </a:srgbClr>
        </a:solidFill>
        <a:ln>
          <a:noFill/>
        </a:ln>
      </dgm:spPr>
      <dgm:t>
        <a:bodyPr/>
        <a:lstStyle/>
        <a:p>
          <a:pPr algn="l" rtl="0">
            <a:lnSpc>
              <a:spcPct val="120000"/>
            </a:lnSpc>
            <a:spcBef>
              <a:spcPts val="300"/>
            </a:spcBef>
          </a:pPr>
          <a:r>
            <a:rPr lang="en-US" sz="1400" b="1" u="sng" dirty="0">
              <a:solidFill>
                <a:schemeClr val="tx1"/>
              </a:solidFill>
              <a:latin typeface="Century Gothic" pitchFamily="34" charset="0"/>
            </a:rPr>
            <a:t>SECTION B:   Western Cape regions </a:t>
          </a:r>
          <a:endParaRPr lang="en-ZA" sz="1400" b="1" u="sng" dirty="0">
            <a:solidFill>
              <a:schemeClr val="tx1"/>
            </a:solidFill>
            <a:latin typeface="Century Gothic" pitchFamily="34" charset="0"/>
          </a:endParaRPr>
        </a:p>
      </dgm:t>
    </dgm:pt>
    <dgm:pt modelId="{1905A6C8-7FD3-452A-9C6D-1EFD2A877912}" type="parTrans" cxnId="{C6911F71-8D29-4B7F-B7B3-0B21C6ECC912}">
      <dgm:prSet/>
      <dgm:spPr/>
      <dgm:t>
        <a:bodyPr/>
        <a:lstStyle/>
        <a:p>
          <a:endParaRPr lang="en-US"/>
        </a:p>
      </dgm:t>
    </dgm:pt>
    <dgm:pt modelId="{F0DF7AD4-BC9E-47D4-A902-762F5D5EA44A}" type="sibTrans" cxnId="{C6911F71-8D29-4B7F-B7B3-0B21C6ECC912}">
      <dgm:prSet/>
      <dgm:spPr/>
      <dgm:t>
        <a:bodyPr/>
        <a:lstStyle/>
        <a:p>
          <a:endParaRPr lang="en-US"/>
        </a:p>
      </dgm:t>
    </dgm:pt>
    <dgm:pt modelId="{7DA26FC9-07C6-4CE9-832D-FD41C27C1F5B}">
      <dgm:prSet custT="1"/>
      <dgm:spPr>
        <a:solidFill>
          <a:srgbClr val="D1CDC9">
            <a:alpha val="89804"/>
          </a:srgbClr>
        </a:solidFill>
        <a:ln>
          <a:noFill/>
        </a:ln>
      </dgm:spPr>
      <dgm:t>
        <a:bodyPr/>
        <a:lstStyle/>
        <a:p>
          <a:pPr algn="l" rtl="0">
            <a:lnSpc>
              <a:spcPct val="100000"/>
            </a:lnSpc>
            <a:spcBef>
              <a:spcPts val="1200"/>
            </a:spcBef>
          </a:pPr>
          <a:r>
            <a:rPr lang="en-ZA" sz="1400" b="1" u="sng" dirty="0">
              <a:solidFill>
                <a:schemeClr val="tx1"/>
              </a:solidFill>
              <a:latin typeface="Century Gothic" pitchFamily="34" charset="0"/>
            </a:rPr>
            <a:t>SECTION A: Background and macroeconomic outlook</a:t>
          </a:r>
        </a:p>
      </dgm:t>
    </dgm:pt>
    <dgm:pt modelId="{E14403F1-1881-437F-85D9-79FD6536320E}" type="sibTrans" cxnId="{6E1EB153-5B73-4B4A-B8C3-818FDC5AE4DB}">
      <dgm:prSet/>
      <dgm:spPr/>
      <dgm:t>
        <a:bodyPr/>
        <a:lstStyle/>
        <a:p>
          <a:endParaRPr lang="en-ZA"/>
        </a:p>
      </dgm:t>
    </dgm:pt>
    <dgm:pt modelId="{9E5C77CE-2D0E-4346-9903-BE7D33AABA59}" type="parTrans" cxnId="{6E1EB153-5B73-4B4A-B8C3-818FDC5AE4DB}">
      <dgm:prSet/>
      <dgm:spPr/>
      <dgm:t>
        <a:bodyPr/>
        <a:lstStyle/>
        <a:p>
          <a:endParaRPr lang="en-ZA"/>
        </a:p>
      </dgm:t>
    </dgm:pt>
    <dgm:pt modelId="{81D353A1-9882-41AA-9985-7863F755AD22}">
      <dgm:prSet custT="1"/>
      <dgm:spPr>
        <a:solidFill>
          <a:srgbClr val="D1CDC9">
            <a:alpha val="89804"/>
          </a:srgbClr>
        </a:solidFill>
        <a:ln>
          <a:noFill/>
        </a:ln>
      </dgm:spPr>
      <dgm:t>
        <a:bodyPr/>
        <a:lstStyle/>
        <a:p>
          <a:pPr algn="l" rtl="0">
            <a:lnSpc>
              <a:spcPct val="100000"/>
            </a:lnSpc>
            <a:spcBef>
              <a:spcPts val="1200"/>
            </a:spcBef>
          </a:pPr>
          <a:r>
            <a:rPr lang="en-ZA" sz="1400" b="1" u="none" dirty="0">
              <a:solidFill>
                <a:schemeClr val="tx1"/>
              </a:solidFill>
              <a:latin typeface="Century Gothic" pitchFamily="34" charset="0"/>
            </a:rPr>
            <a:t>District overview </a:t>
          </a:r>
          <a:endParaRPr lang="en-ZA" sz="1400" b="1" dirty="0">
            <a:solidFill>
              <a:schemeClr val="tx1"/>
            </a:solidFill>
            <a:latin typeface="Century Gothic" pitchFamily="34" charset="0"/>
          </a:endParaRPr>
        </a:p>
      </dgm:t>
    </dgm:pt>
    <dgm:pt modelId="{89428D61-9556-4505-9B65-C8ECB9FEFEBE}" type="parTrans" cxnId="{D1106F41-3A96-4346-9880-0A381A914F47}">
      <dgm:prSet/>
      <dgm:spPr/>
      <dgm:t>
        <a:bodyPr/>
        <a:lstStyle/>
        <a:p>
          <a:endParaRPr lang="en-US"/>
        </a:p>
      </dgm:t>
    </dgm:pt>
    <dgm:pt modelId="{D15C3F8A-435F-4D9C-97D4-DDC0F7ABF0E9}" type="sibTrans" cxnId="{D1106F41-3A96-4346-9880-0A381A914F47}">
      <dgm:prSet/>
      <dgm:spPr/>
      <dgm:t>
        <a:bodyPr/>
        <a:lstStyle/>
        <a:p>
          <a:endParaRPr lang="en-US"/>
        </a:p>
      </dgm:t>
    </dgm:pt>
    <dgm:pt modelId="{69E36746-7745-4812-987B-30A726702EBA}">
      <dgm:prSet custT="1"/>
      <dgm:spPr>
        <a:solidFill>
          <a:srgbClr val="D1CDC9">
            <a:alpha val="89804"/>
          </a:srgbClr>
        </a:solidFill>
        <a:ln>
          <a:noFill/>
        </a:ln>
      </dgm:spPr>
      <dgm:t>
        <a:bodyPr/>
        <a:lstStyle/>
        <a:p>
          <a:pPr algn="l" rtl="0">
            <a:lnSpc>
              <a:spcPct val="100000"/>
            </a:lnSpc>
            <a:spcBef>
              <a:spcPts val="1200"/>
            </a:spcBef>
          </a:pPr>
          <a:r>
            <a:rPr lang="en-ZA" sz="1400" b="1" dirty="0">
              <a:solidFill>
                <a:schemeClr val="tx1"/>
              </a:solidFill>
              <a:latin typeface="Century Gothic" pitchFamily="34" charset="0"/>
            </a:rPr>
            <a:t>Provincial drought</a:t>
          </a:r>
        </a:p>
      </dgm:t>
    </dgm:pt>
    <dgm:pt modelId="{5201FDD0-586E-4BD3-8213-77150145F3C9}" type="parTrans" cxnId="{79243B19-F159-4289-8B78-5CE6A152C9B1}">
      <dgm:prSet/>
      <dgm:spPr/>
      <dgm:t>
        <a:bodyPr/>
        <a:lstStyle/>
        <a:p>
          <a:endParaRPr lang="en-US"/>
        </a:p>
      </dgm:t>
    </dgm:pt>
    <dgm:pt modelId="{8842C0BF-387A-47A2-94D4-66D7A5E16B49}" type="sibTrans" cxnId="{79243B19-F159-4289-8B78-5CE6A152C9B1}">
      <dgm:prSet/>
      <dgm:spPr/>
      <dgm:t>
        <a:bodyPr/>
        <a:lstStyle/>
        <a:p>
          <a:endParaRPr lang="en-US"/>
        </a:p>
      </dgm:t>
    </dgm:pt>
    <dgm:pt modelId="{269AC5F5-8C89-4A66-A23A-727112667529}">
      <dgm:prSet custT="1"/>
      <dgm:spPr>
        <a:solidFill>
          <a:srgbClr val="D1CDC9">
            <a:alpha val="89804"/>
          </a:srgbClr>
        </a:solidFill>
        <a:ln>
          <a:noFill/>
        </a:ln>
      </dgm:spPr>
      <dgm:t>
        <a:bodyPr/>
        <a:lstStyle/>
        <a:p>
          <a:pPr algn="l" rtl="0">
            <a:lnSpc>
              <a:spcPct val="100000"/>
            </a:lnSpc>
            <a:spcBef>
              <a:spcPts val="1200"/>
            </a:spcBef>
          </a:pPr>
          <a:r>
            <a:rPr lang="en-ZA" sz="1400" b="1" dirty="0">
              <a:solidFill>
                <a:schemeClr val="tx1"/>
              </a:solidFill>
              <a:latin typeface="Century Gothic" pitchFamily="34" charset="0"/>
            </a:rPr>
            <a:t>Economic development initiatives</a:t>
          </a:r>
        </a:p>
      </dgm:t>
    </dgm:pt>
    <dgm:pt modelId="{3A6E8556-A576-4071-B2C2-91333E753046}" type="parTrans" cxnId="{AE4613C3-1F13-4189-9DCE-03B5E79D488E}">
      <dgm:prSet/>
      <dgm:spPr/>
      <dgm:t>
        <a:bodyPr/>
        <a:lstStyle/>
        <a:p>
          <a:endParaRPr lang="en-US"/>
        </a:p>
      </dgm:t>
    </dgm:pt>
    <dgm:pt modelId="{9E5E6B39-B7A6-4428-B7B2-598A1692AE52}" type="sibTrans" cxnId="{AE4613C3-1F13-4189-9DCE-03B5E79D488E}">
      <dgm:prSet/>
      <dgm:spPr/>
      <dgm:t>
        <a:bodyPr/>
        <a:lstStyle/>
        <a:p>
          <a:endParaRPr lang="en-US"/>
        </a:p>
      </dgm:t>
    </dgm:pt>
    <dgm:pt modelId="{A50D6FEB-E85E-4025-9795-6A8C3C1AC069}">
      <dgm:prSet custT="1"/>
      <dgm:spPr>
        <a:solidFill>
          <a:srgbClr val="D1CDC9">
            <a:alpha val="89804"/>
          </a:srgbClr>
        </a:solidFill>
        <a:ln>
          <a:noFill/>
        </a:ln>
      </dgm:spPr>
      <dgm:t>
        <a:bodyPr/>
        <a:lstStyle/>
        <a:p>
          <a:pPr algn="l" rtl="0">
            <a:lnSpc>
              <a:spcPct val="100000"/>
            </a:lnSpc>
            <a:spcBef>
              <a:spcPts val="1200"/>
            </a:spcBef>
          </a:pPr>
          <a:endParaRPr lang="en-ZA" sz="1400" b="1" dirty="0">
            <a:solidFill>
              <a:schemeClr val="tx1"/>
            </a:solidFill>
            <a:latin typeface="Century Gothic" pitchFamily="34" charset="0"/>
          </a:endParaRPr>
        </a:p>
      </dgm:t>
    </dgm:pt>
    <dgm:pt modelId="{A9D7D786-E6E9-4C52-9B92-7719C92FB5F9}" type="parTrans" cxnId="{65D5E9AA-673D-46AC-B39E-CB2D88DA72DD}">
      <dgm:prSet/>
      <dgm:spPr/>
      <dgm:t>
        <a:bodyPr/>
        <a:lstStyle/>
        <a:p>
          <a:endParaRPr lang="en-US"/>
        </a:p>
      </dgm:t>
    </dgm:pt>
    <dgm:pt modelId="{2C851CBA-8526-4511-96A7-17AA1E91052B}" type="sibTrans" cxnId="{65D5E9AA-673D-46AC-B39E-CB2D88DA72DD}">
      <dgm:prSet/>
      <dgm:spPr/>
      <dgm:t>
        <a:bodyPr/>
        <a:lstStyle/>
        <a:p>
          <a:endParaRPr lang="en-US"/>
        </a:p>
      </dgm:t>
    </dgm:pt>
    <dgm:pt modelId="{E571CC7E-6BF5-4C71-98B2-4D9D9B74FBB6}" type="pres">
      <dgm:prSet presAssocID="{B25ED41D-EAF7-4EF9-8F67-409337AA8A1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A850CB71-A03F-4B42-8C66-8A1F07FA311F}" type="pres">
      <dgm:prSet presAssocID="{72DE866F-46D1-4DAF-9358-EF77F60D7690}" presName="linNode" presStyleCnt="0"/>
      <dgm:spPr/>
    </dgm:pt>
    <dgm:pt modelId="{3B1807DF-E1AB-44AF-92F9-2580B40524BF}" type="pres">
      <dgm:prSet presAssocID="{72DE866F-46D1-4DAF-9358-EF77F60D7690}" presName="parentText" presStyleLbl="node1" presStyleIdx="0" presStyleCnt="1" custScaleX="69247" custLinFactNeighborX="-19" custLinFactNeighborY="49">
        <dgm:presLayoutVars>
          <dgm:chMax val="1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69C8FC10-AB30-418D-98AD-31BF21DDAF72}" type="pres">
      <dgm:prSet presAssocID="{72DE866F-46D1-4DAF-9358-EF77F60D7690}" presName="descendantText" presStyleLbl="alignAccFollowNode1" presStyleIdx="0" presStyleCnt="1" custScaleX="117413" custScaleY="125122" custLinFactNeighborX="34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AE4613C3-1F13-4189-9DCE-03B5E79D488E}" srcId="{72DE866F-46D1-4DAF-9358-EF77F60D7690}" destId="{269AC5F5-8C89-4A66-A23A-727112667529}" srcOrd="3" destOrd="0" parTransId="{3A6E8556-A576-4071-B2C2-91333E753046}" sibTransId="{9E5E6B39-B7A6-4428-B7B2-598A1692AE52}"/>
    <dgm:cxn modelId="{79243B19-F159-4289-8B78-5CE6A152C9B1}" srcId="{72DE866F-46D1-4DAF-9358-EF77F60D7690}" destId="{69E36746-7745-4812-987B-30A726702EBA}" srcOrd="2" destOrd="0" parTransId="{5201FDD0-586E-4BD3-8213-77150145F3C9}" sibTransId="{8842C0BF-387A-47A2-94D4-66D7A5E16B49}"/>
    <dgm:cxn modelId="{5AD68D17-43FA-4F43-A66A-D1F19524672C}" srcId="{72DE866F-46D1-4DAF-9358-EF77F60D7690}" destId="{FA5F6089-A70A-4A62-B2CC-90BE05C7487D}" srcOrd="7" destOrd="0" parTransId="{8D8D89B7-B57C-4E42-93B7-282ACE204264}" sibTransId="{A21A8B65-BA2E-40BE-B91E-FE5BD3848E66}"/>
    <dgm:cxn modelId="{05B96652-8333-4BAF-9C67-BC83E49355E2}" srcId="{72DE866F-46D1-4DAF-9358-EF77F60D7690}" destId="{0C63FA18-393D-41DE-BFD0-FE94E5C2D494}" srcOrd="8" destOrd="0" parTransId="{236DE2AC-88B9-457B-BEA5-DCF31BB73A7E}" sibTransId="{19FF2FDD-558D-4722-8464-C208CF3B4BA0}"/>
    <dgm:cxn modelId="{CE12D121-C979-42BE-BD4F-0D611237A9E5}" type="presOf" srcId="{72DE866F-46D1-4DAF-9358-EF77F60D7690}" destId="{3B1807DF-E1AB-44AF-92F9-2580B40524BF}" srcOrd="0" destOrd="0" presId="urn:microsoft.com/office/officeart/2005/8/layout/vList5"/>
    <dgm:cxn modelId="{0E7438A7-1C8B-48DC-9658-C4B74996F5D6}" srcId="{72DE866F-46D1-4DAF-9358-EF77F60D7690}" destId="{D7C1574B-D0A6-4632-8600-F4C0B14EB854}" srcOrd="9" destOrd="0" parTransId="{25CB3FB7-1BAA-4501-9911-82650BEF784A}" sibTransId="{D396DA86-594B-4899-B89F-275A4CEA114E}"/>
    <dgm:cxn modelId="{335A5087-E7D8-4FF7-A89D-4E011E5C2056}" type="presOf" srcId="{B25ED41D-EAF7-4EF9-8F67-409337AA8A1D}" destId="{E571CC7E-6BF5-4C71-98B2-4D9D9B74FBB6}" srcOrd="0" destOrd="0" presId="urn:microsoft.com/office/officeart/2005/8/layout/vList5"/>
    <dgm:cxn modelId="{C6911F71-8D29-4B7F-B7B3-0B21C6ECC912}" srcId="{72DE866F-46D1-4DAF-9358-EF77F60D7690}" destId="{D395111B-E6BF-49BD-9B7E-A6E2BBFA9DCA}" srcOrd="5" destOrd="0" parTransId="{1905A6C8-7FD3-452A-9C6D-1EFD2A877912}" sibTransId="{F0DF7AD4-BC9E-47D4-A902-762F5D5EA44A}"/>
    <dgm:cxn modelId="{D1106F41-3A96-4346-9880-0A381A914F47}" srcId="{72DE866F-46D1-4DAF-9358-EF77F60D7690}" destId="{81D353A1-9882-41AA-9985-7863F755AD22}" srcOrd="1" destOrd="0" parTransId="{89428D61-9556-4505-9B65-C8ECB9FEFEBE}" sibTransId="{D15C3F8A-435F-4D9C-97D4-DDC0F7ABF0E9}"/>
    <dgm:cxn modelId="{6E1EB153-5B73-4B4A-B8C3-818FDC5AE4DB}" srcId="{72DE866F-46D1-4DAF-9358-EF77F60D7690}" destId="{7DA26FC9-07C6-4CE9-832D-FD41C27C1F5B}" srcOrd="0" destOrd="0" parTransId="{9E5C77CE-2D0E-4346-9903-BE7D33AABA59}" sibTransId="{E14403F1-1881-437F-85D9-79FD6536320E}"/>
    <dgm:cxn modelId="{D0DA929F-30E4-49E6-84AE-98A512C4A09C}" type="presOf" srcId="{3417E484-1C63-4063-8BA5-231E50FF72D1}" destId="{69C8FC10-AB30-418D-98AD-31BF21DDAF72}" srcOrd="0" destOrd="6" presId="urn:microsoft.com/office/officeart/2005/8/layout/vList5"/>
    <dgm:cxn modelId="{2AA7E02C-7B10-48B7-9AAA-3146E8FD0450}" srcId="{72DE866F-46D1-4DAF-9358-EF77F60D7690}" destId="{3417E484-1C63-4063-8BA5-231E50FF72D1}" srcOrd="6" destOrd="0" parTransId="{3B0E09F7-F8FB-4699-BD8F-D4E1447A73CA}" sibTransId="{42E8D38B-FA77-4F9A-A7CF-AC5AC3266383}"/>
    <dgm:cxn modelId="{FFF75A69-0192-40AF-A1B4-A1314B6B9708}" type="presOf" srcId="{A50D6FEB-E85E-4025-9795-6A8C3C1AC069}" destId="{69C8FC10-AB30-418D-98AD-31BF21DDAF72}" srcOrd="0" destOrd="4" presId="urn:microsoft.com/office/officeart/2005/8/layout/vList5"/>
    <dgm:cxn modelId="{F1249B4F-F491-4767-B219-A72360067F67}" type="presOf" srcId="{269AC5F5-8C89-4A66-A23A-727112667529}" destId="{69C8FC10-AB30-418D-98AD-31BF21DDAF72}" srcOrd="0" destOrd="3" presId="urn:microsoft.com/office/officeart/2005/8/layout/vList5"/>
    <dgm:cxn modelId="{ABC28868-9188-453B-9180-B57530C45BA0}" type="presOf" srcId="{A41B6ADF-D3D1-4196-9B51-4446C9515CE2}" destId="{69C8FC10-AB30-418D-98AD-31BF21DDAF72}" srcOrd="0" destOrd="10" presId="urn:microsoft.com/office/officeart/2005/8/layout/vList5"/>
    <dgm:cxn modelId="{FAE26F21-10EE-497A-8B0C-D53A93FE5A9F}" srcId="{B25ED41D-EAF7-4EF9-8F67-409337AA8A1D}" destId="{72DE866F-46D1-4DAF-9358-EF77F60D7690}" srcOrd="0" destOrd="0" parTransId="{0F021BC5-C5A4-4BFE-B5F2-3A8982EA8960}" sibTransId="{6B032165-53BA-4BB4-B6F3-A03E71D44E2A}"/>
    <dgm:cxn modelId="{5810BB1E-3A87-4603-B2ED-FF412FBB637A}" type="presOf" srcId="{69E36746-7745-4812-987B-30A726702EBA}" destId="{69C8FC10-AB30-418D-98AD-31BF21DDAF72}" srcOrd="0" destOrd="2" presId="urn:microsoft.com/office/officeart/2005/8/layout/vList5"/>
    <dgm:cxn modelId="{1E2D560C-2299-4278-A7CA-FB06460B573A}" type="presOf" srcId="{FA5F6089-A70A-4A62-B2CC-90BE05C7487D}" destId="{69C8FC10-AB30-418D-98AD-31BF21DDAF72}" srcOrd="0" destOrd="7" presId="urn:microsoft.com/office/officeart/2005/8/layout/vList5"/>
    <dgm:cxn modelId="{70B774DD-A863-4116-9344-301E62D96662}" type="presOf" srcId="{0C63FA18-393D-41DE-BFD0-FE94E5C2D494}" destId="{69C8FC10-AB30-418D-98AD-31BF21DDAF72}" srcOrd="0" destOrd="8" presId="urn:microsoft.com/office/officeart/2005/8/layout/vList5"/>
    <dgm:cxn modelId="{D55AF98A-F0D0-4620-B9F0-8388F867234A}" type="presOf" srcId="{D395111B-E6BF-49BD-9B7E-A6E2BBFA9DCA}" destId="{69C8FC10-AB30-418D-98AD-31BF21DDAF72}" srcOrd="0" destOrd="5" presId="urn:microsoft.com/office/officeart/2005/8/layout/vList5"/>
    <dgm:cxn modelId="{0CB86A8E-B7D4-465A-AE4E-59FACBDE66BB}" type="presOf" srcId="{81D353A1-9882-41AA-9985-7863F755AD22}" destId="{69C8FC10-AB30-418D-98AD-31BF21DDAF72}" srcOrd="0" destOrd="1" presId="urn:microsoft.com/office/officeart/2005/8/layout/vList5"/>
    <dgm:cxn modelId="{C7378688-7A04-43C3-BC4C-1C027FF5E62D}" srcId="{72DE866F-46D1-4DAF-9358-EF77F60D7690}" destId="{A41B6ADF-D3D1-4196-9B51-4446C9515CE2}" srcOrd="10" destOrd="0" parTransId="{D7DDEA31-789B-4572-8598-4A8F3FD58168}" sibTransId="{15096372-6645-49D2-98BA-5FC6FDAF044C}"/>
    <dgm:cxn modelId="{C7830F53-F632-4B9E-A464-BC41C1A75E43}" type="presOf" srcId="{7DA26FC9-07C6-4CE9-832D-FD41C27C1F5B}" destId="{69C8FC10-AB30-418D-98AD-31BF21DDAF72}" srcOrd="0" destOrd="0" presId="urn:microsoft.com/office/officeart/2005/8/layout/vList5"/>
    <dgm:cxn modelId="{65D5E9AA-673D-46AC-B39E-CB2D88DA72DD}" srcId="{72DE866F-46D1-4DAF-9358-EF77F60D7690}" destId="{A50D6FEB-E85E-4025-9795-6A8C3C1AC069}" srcOrd="4" destOrd="0" parTransId="{A9D7D786-E6E9-4C52-9B92-7719C92FB5F9}" sibTransId="{2C851CBA-8526-4511-96A7-17AA1E91052B}"/>
    <dgm:cxn modelId="{8B8A06BE-E5E7-4910-BD7A-B9D6E6C98217}" type="presOf" srcId="{D7C1574B-D0A6-4632-8600-F4C0B14EB854}" destId="{69C8FC10-AB30-418D-98AD-31BF21DDAF72}" srcOrd="0" destOrd="9" presId="urn:microsoft.com/office/officeart/2005/8/layout/vList5"/>
    <dgm:cxn modelId="{5A3F2E29-2E70-423F-92EA-B0C42B486B27}" type="presParOf" srcId="{E571CC7E-6BF5-4C71-98B2-4D9D9B74FBB6}" destId="{A850CB71-A03F-4B42-8C66-8A1F07FA311F}" srcOrd="0" destOrd="0" presId="urn:microsoft.com/office/officeart/2005/8/layout/vList5"/>
    <dgm:cxn modelId="{6EB3B05F-5E76-417A-9C09-176E4E803EB5}" type="presParOf" srcId="{A850CB71-A03F-4B42-8C66-8A1F07FA311F}" destId="{3B1807DF-E1AB-44AF-92F9-2580B40524BF}" srcOrd="0" destOrd="0" presId="urn:microsoft.com/office/officeart/2005/8/layout/vList5"/>
    <dgm:cxn modelId="{5335BAAA-9687-452B-9412-5C67DC86DB8D}" type="presParOf" srcId="{A850CB71-A03F-4B42-8C66-8A1F07FA311F}" destId="{69C8FC10-AB30-418D-98AD-31BF21DDAF72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CD2961C-57B4-46E3-9565-ECDDCC449B15}" type="doc">
      <dgm:prSet loTypeId="urn:microsoft.com/office/officeart/2005/8/layout/default#1" loCatId="list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en-ZA"/>
        </a:p>
      </dgm:t>
    </dgm:pt>
    <dgm:pt modelId="{0B19F5EC-0C9A-4208-9255-9728BBB274D4}">
      <dgm:prSet phldrT="[Text]"/>
      <dgm:spPr/>
      <dgm:t>
        <a:bodyPr/>
        <a:lstStyle/>
        <a:p>
          <a:r>
            <a:rPr lang="en-ZA" b="1" dirty="0"/>
            <a:t>Jobs</a:t>
          </a:r>
        </a:p>
      </dgm:t>
    </dgm:pt>
    <dgm:pt modelId="{2AC13E7F-72E3-43FA-8C84-908CDC26F13F}" type="parTrans" cxnId="{1C333B6B-A342-4798-BC05-EDC965C66E44}">
      <dgm:prSet/>
      <dgm:spPr/>
      <dgm:t>
        <a:bodyPr/>
        <a:lstStyle/>
        <a:p>
          <a:endParaRPr lang="en-ZA"/>
        </a:p>
      </dgm:t>
    </dgm:pt>
    <dgm:pt modelId="{D0802362-1614-4071-9C95-56C0F323074D}" type="sibTrans" cxnId="{1C333B6B-A342-4798-BC05-EDC965C66E44}">
      <dgm:prSet/>
      <dgm:spPr/>
      <dgm:t>
        <a:bodyPr/>
        <a:lstStyle/>
        <a:p>
          <a:endParaRPr lang="en-ZA"/>
        </a:p>
      </dgm:t>
    </dgm:pt>
    <dgm:pt modelId="{63A82942-C459-4ADC-86B2-9F86A4883709}">
      <dgm:prSet phldrT="[Text]"/>
      <dgm:spPr/>
      <dgm:t>
        <a:bodyPr/>
        <a:lstStyle/>
        <a:p>
          <a:r>
            <a:rPr lang="en-ZA" b="1" dirty="0"/>
            <a:t>Manufacturing sector </a:t>
          </a:r>
        </a:p>
        <a:p>
          <a:r>
            <a:rPr lang="en-ZA" dirty="0"/>
            <a:t>(</a:t>
          </a:r>
          <a:r>
            <a:rPr lang="en-ZA" b="1" dirty="0" err="1"/>
            <a:t>agro</a:t>
          </a:r>
          <a:r>
            <a:rPr lang="en-ZA" b="1" dirty="0"/>
            <a:t>-processing</a:t>
          </a:r>
          <a:r>
            <a:rPr lang="en-ZA" dirty="0"/>
            <a:t>)</a:t>
          </a:r>
        </a:p>
      </dgm:t>
    </dgm:pt>
    <dgm:pt modelId="{A569B888-BA51-4D6E-9E06-6205FEBC4899}" type="parTrans" cxnId="{D936EC6B-5C99-49DF-866E-8B7C8CA0F295}">
      <dgm:prSet/>
      <dgm:spPr/>
      <dgm:t>
        <a:bodyPr/>
        <a:lstStyle/>
        <a:p>
          <a:endParaRPr lang="en-ZA"/>
        </a:p>
      </dgm:t>
    </dgm:pt>
    <dgm:pt modelId="{4FD6321D-C3E4-4F1D-AAE4-10B637F09D1D}" type="sibTrans" cxnId="{D936EC6B-5C99-49DF-866E-8B7C8CA0F295}">
      <dgm:prSet/>
      <dgm:spPr/>
      <dgm:t>
        <a:bodyPr/>
        <a:lstStyle/>
        <a:p>
          <a:endParaRPr lang="en-ZA"/>
        </a:p>
      </dgm:t>
    </dgm:pt>
    <dgm:pt modelId="{3FC56747-E448-4E99-9367-934F21E9BBE4}">
      <dgm:prSet phldrT="[Text]"/>
      <dgm:spPr/>
      <dgm:t>
        <a:bodyPr/>
        <a:lstStyle/>
        <a:p>
          <a:r>
            <a:rPr lang="en-ZA" b="1" dirty="0"/>
            <a:t>Exports</a:t>
          </a:r>
        </a:p>
      </dgm:t>
    </dgm:pt>
    <dgm:pt modelId="{033B632A-E213-4681-B56C-11FFB8978917}" type="parTrans" cxnId="{B4A08C9A-7E08-4805-B664-9BA1DD977DC4}">
      <dgm:prSet/>
      <dgm:spPr/>
      <dgm:t>
        <a:bodyPr/>
        <a:lstStyle/>
        <a:p>
          <a:endParaRPr lang="en-ZA"/>
        </a:p>
      </dgm:t>
    </dgm:pt>
    <dgm:pt modelId="{BF69C348-CE7B-4E67-AE5B-EFACFB0EED66}" type="sibTrans" cxnId="{B4A08C9A-7E08-4805-B664-9BA1DD977DC4}">
      <dgm:prSet/>
      <dgm:spPr/>
      <dgm:t>
        <a:bodyPr/>
        <a:lstStyle/>
        <a:p>
          <a:endParaRPr lang="en-ZA"/>
        </a:p>
      </dgm:t>
    </dgm:pt>
    <dgm:pt modelId="{67985619-A3F2-4195-A766-EBD14088BA1E}" type="pres">
      <dgm:prSet presAssocID="{7CD2961C-57B4-46E3-9565-ECDDCC449B15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0B5B1E95-B083-40A2-B912-32F5D77A29B7}" type="pres">
      <dgm:prSet presAssocID="{0B19F5EC-0C9A-4208-9255-9728BBB274D4}" presName="node" presStyleLbl="node1" presStyleIdx="0" presStyleCnt="3" custLinFactNeighborX="831" custLinFactNeighborY="-52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54AA5F61-71D4-464C-A4EF-384EBD8DA199}" type="pres">
      <dgm:prSet presAssocID="{D0802362-1614-4071-9C95-56C0F323074D}" presName="sibTrans" presStyleCnt="0"/>
      <dgm:spPr/>
    </dgm:pt>
    <dgm:pt modelId="{72EC6DEF-9889-4B83-8FCB-687F6E1346F2}" type="pres">
      <dgm:prSet presAssocID="{63A82942-C459-4ADC-86B2-9F86A4883709}" presName="node" presStyleLbl="node1" presStyleIdx="1" presStyleCnt="3" custScaleX="104470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C3EB3CB2-BA13-436C-9B6C-A4ACA45978F2}" type="pres">
      <dgm:prSet presAssocID="{4FD6321D-C3E4-4F1D-AAE4-10B637F09D1D}" presName="sibTrans" presStyleCnt="0"/>
      <dgm:spPr/>
    </dgm:pt>
    <dgm:pt modelId="{D49DA139-A166-47F3-8AF2-42D4F998ED1C}" type="pres">
      <dgm:prSet presAssocID="{3FC56747-E448-4E99-9367-934F21E9BBE4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6C3566A5-49F6-432A-8563-6DDEC14368A1}" type="presOf" srcId="{3FC56747-E448-4E99-9367-934F21E9BBE4}" destId="{D49DA139-A166-47F3-8AF2-42D4F998ED1C}" srcOrd="0" destOrd="0" presId="urn:microsoft.com/office/officeart/2005/8/layout/default#1"/>
    <dgm:cxn modelId="{1C333B6B-A342-4798-BC05-EDC965C66E44}" srcId="{7CD2961C-57B4-46E3-9565-ECDDCC449B15}" destId="{0B19F5EC-0C9A-4208-9255-9728BBB274D4}" srcOrd="0" destOrd="0" parTransId="{2AC13E7F-72E3-43FA-8C84-908CDC26F13F}" sibTransId="{D0802362-1614-4071-9C95-56C0F323074D}"/>
    <dgm:cxn modelId="{D936EC6B-5C99-49DF-866E-8B7C8CA0F295}" srcId="{7CD2961C-57B4-46E3-9565-ECDDCC449B15}" destId="{63A82942-C459-4ADC-86B2-9F86A4883709}" srcOrd="1" destOrd="0" parTransId="{A569B888-BA51-4D6E-9E06-6205FEBC4899}" sibTransId="{4FD6321D-C3E4-4F1D-AAE4-10B637F09D1D}"/>
    <dgm:cxn modelId="{58DB7EFB-679F-4018-A16F-419141C5DBC0}" type="presOf" srcId="{0B19F5EC-0C9A-4208-9255-9728BBB274D4}" destId="{0B5B1E95-B083-40A2-B912-32F5D77A29B7}" srcOrd="0" destOrd="0" presId="urn:microsoft.com/office/officeart/2005/8/layout/default#1"/>
    <dgm:cxn modelId="{084DB4C0-CFBB-44BB-84BB-BD03ED93803E}" type="presOf" srcId="{7CD2961C-57B4-46E3-9565-ECDDCC449B15}" destId="{67985619-A3F2-4195-A766-EBD14088BA1E}" srcOrd="0" destOrd="0" presId="urn:microsoft.com/office/officeart/2005/8/layout/default#1"/>
    <dgm:cxn modelId="{B4A08C9A-7E08-4805-B664-9BA1DD977DC4}" srcId="{7CD2961C-57B4-46E3-9565-ECDDCC449B15}" destId="{3FC56747-E448-4E99-9367-934F21E9BBE4}" srcOrd="2" destOrd="0" parTransId="{033B632A-E213-4681-B56C-11FFB8978917}" sibTransId="{BF69C348-CE7B-4E67-AE5B-EFACFB0EED66}"/>
    <dgm:cxn modelId="{06C0E2EC-B05C-4C18-9906-1081C5E80658}" type="presOf" srcId="{63A82942-C459-4ADC-86B2-9F86A4883709}" destId="{72EC6DEF-9889-4B83-8FCB-687F6E1346F2}" srcOrd="0" destOrd="0" presId="urn:microsoft.com/office/officeart/2005/8/layout/default#1"/>
    <dgm:cxn modelId="{3D671F78-F8A9-4ADC-87ED-E62844633459}" type="presParOf" srcId="{67985619-A3F2-4195-A766-EBD14088BA1E}" destId="{0B5B1E95-B083-40A2-B912-32F5D77A29B7}" srcOrd="0" destOrd="0" presId="urn:microsoft.com/office/officeart/2005/8/layout/default#1"/>
    <dgm:cxn modelId="{1BB5C66A-0DEE-424C-9B91-230CD8FFEC02}" type="presParOf" srcId="{67985619-A3F2-4195-A766-EBD14088BA1E}" destId="{54AA5F61-71D4-464C-A4EF-384EBD8DA199}" srcOrd="1" destOrd="0" presId="urn:microsoft.com/office/officeart/2005/8/layout/default#1"/>
    <dgm:cxn modelId="{80147D65-8CC6-4DE4-8695-D4E763E19326}" type="presParOf" srcId="{67985619-A3F2-4195-A766-EBD14088BA1E}" destId="{72EC6DEF-9889-4B83-8FCB-687F6E1346F2}" srcOrd="2" destOrd="0" presId="urn:microsoft.com/office/officeart/2005/8/layout/default#1"/>
    <dgm:cxn modelId="{B0A2F403-6723-469A-8540-0CE553B73900}" type="presParOf" srcId="{67985619-A3F2-4195-A766-EBD14088BA1E}" destId="{C3EB3CB2-BA13-436C-9B6C-A4ACA45978F2}" srcOrd="3" destOrd="0" presId="urn:microsoft.com/office/officeart/2005/8/layout/default#1"/>
    <dgm:cxn modelId="{DA900855-B6C9-4B31-924D-B974BD7E16F9}" type="presParOf" srcId="{67985619-A3F2-4195-A766-EBD14088BA1E}" destId="{D49DA139-A166-47F3-8AF2-42D4F998ED1C}" srcOrd="4" destOrd="0" presId="urn:microsoft.com/office/officeart/2005/8/layout/default#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BCF60B0-09FE-4704-8528-CCAAF01C0690}">
      <dsp:nvSpPr>
        <dsp:cNvPr id="0" name=""/>
        <dsp:cNvSpPr/>
      </dsp:nvSpPr>
      <dsp:spPr>
        <a:xfrm>
          <a:off x="0" y="906239"/>
          <a:ext cx="8412480" cy="1164083"/>
        </a:xfrm>
        <a:prstGeom prst="notchedRightArrow">
          <a:avLst/>
        </a:prstGeom>
        <a:solidFill>
          <a:srgbClr val="D0E4E6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AC8C79C-19E0-4612-A3B9-C03942D66C4A}">
      <dsp:nvSpPr>
        <dsp:cNvPr id="0" name=""/>
        <dsp:cNvSpPr/>
      </dsp:nvSpPr>
      <dsp:spPr>
        <a:xfrm>
          <a:off x="1277389" y="0"/>
          <a:ext cx="1078884" cy="11640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b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ZA" sz="1100" b="1" kern="1200" dirty="0"/>
        </a:p>
      </dsp:txBody>
      <dsp:txXfrm>
        <a:off x="1277389" y="0"/>
        <a:ext cx="1078884" cy="1164083"/>
      </dsp:txXfrm>
    </dsp:sp>
    <dsp:sp modelId="{2360DDE3-4FCB-4E8A-9196-71ABA2E5454C}">
      <dsp:nvSpPr>
        <dsp:cNvPr id="0" name=""/>
        <dsp:cNvSpPr/>
      </dsp:nvSpPr>
      <dsp:spPr>
        <a:xfrm>
          <a:off x="400711" y="1309594"/>
          <a:ext cx="291020" cy="291020"/>
        </a:xfrm>
        <a:prstGeom prst="ellipse">
          <a:avLst/>
        </a:prstGeom>
        <a:solidFill>
          <a:srgbClr val="73AFB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87A3FAA-0A6D-44EC-A265-0B36CEAAAD83}">
      <dsp:nvSpPr>
        <dsp:cNvPr id="0" name=""/>
        <dsp:cNvSpPr/>
      </dsp:nvSpPr>
      <dsp:spPr>
        <a:xfrm>
          <a:off x="1580002" y="1746125"/>
          <a:ext cx="908734" cy="11640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t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100" b="1" kern="1200" dirty="0"/>
            <a:t>Oct 2018</a:t>
          </a:r>
          <a:br>
            <a:rPr lang="en-ZA" sz="1100" b="1" kern="1200" dirty="0"/>
          </a:br>
          <a:r>
            <a:rPr lang="en-ZA" sz="1100" b="1" kern="1200" dirty="0"/>
            <a:t>PG MTEC 1</a:t>
          </a:r>
          <a:br>
            <a:rPr lang="en-ZA" sz="1100" b="1" kern="1200" dirty="0"/>
          </a:br>
          <a:r>
            <a:rPr lang="en-ZA" sz="1100" b="1" kern="1200" dirty="0"/>
            <a:t>National </a:t>
          </a:r>
          <a:br>
            <a:rPr lang="en-ZA" sz="1100" b="1" kern="1200" dirty="0"/>
          </a:br>
          <a:r>
            <a:rPr lang="en-ZA" sz="1100" b="1" kern="1200" dirty="0"/>
            <a:t>MTBPS</a:t>
          </a:r>
        </a:p>
      </dsp:txBody>
      <dsp:txXfrm>
        <a:off x="1580002" y="1746125"/>
        <a:ext cx="908734" cy="1164083"/>
      </dsp:txXfrm>
    </dsp:sp>
    <dsp:sp modelId="{054AD779-654D-4907-B920-AE4BB16F7C8B}">
      <dsp:nvSpPr>
        <dsp:cNvPr id="0" name=""/>
        <dsp:cNvSpPr/>
      </dsp:nvSpPr>
      <dsp:spPr>
        <a:xfrm>
          <a:off x="1897374" y="1302071"/>
          <a:ext cx="291020" cy="291020"/>
        </a:xfrm>
        <a:prstGeom prst="ellipse">
          <a:avLst/>
        </a:prstGeom>
        <a:solidFill>
          <a:srgbClr val="73AFB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8DD60B-DC49-475C-BD0D-4EBAF033603A}">
      <dsp:nvSpPr>
        <dsp:cNvPr id="0" name=""/>
        <dsp:cNvSpPr/>
      </dsp:nvSpPr>
      <dsp:spPr>
        <a:xfrm>
          <a:off x="3180666" y="1302068"/>
          <a:ext cx="1153163" cy="9216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b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100" b="1" kern="1200" dirty="0">
              <a:solidFill>
                <a:schemeClr val="tx1"/>
              </a:solidFill>
            </a:rPr>
            <a:t>Nov 2018</a:t>
          </a:r>
          <a:br>
            <a:rPr lang="en-ZA" sz="1100" b="1" kern="1200" dirty="0">
              <a:solidFill>
                <a:schemeClr val="tx1"/>
              </a:solidFill>
            </a:rPr>
          </a:br>
          <a:endParaRPr lang="en-ZA" sz="1100" b="1" kern="1200" dirty="0">
            <a:solidFill>
              <a:schemeClr val="tx1"/>
            </a:solidFill>
          </a:endParaRPr>
        </a:p>
      </dsp:txBody>
      <dsp:txXfrm>
        <a:off x="3180666" y="1302068"/>
        <a:ext cx="1153163" cy="921604"/>
      </dsp:txXfrm>
    </dsp:sp>
    <dsp:sp modelId="{1DA455AD-A49C-427E-8D2F-72DC861A3BB1}">
      <dsp:nvSpPr>
        <dsp:cNvPr id="0" name=""/>
        <dsp:cNvSpPr/>
      </dsp:nvSpPr>
      <dsp:spPr>
        <a:xfrm>
          <a:off x="2755556" y="1321747"/>
          <a:ext cx="291020" cy="291020"/>
        </a:xfrm>
        <a:prstGeom prst="ellipse">
          <a:avLst/>
        </a:prstGeom>
        <a:solidFill>
          <a:srgbClr val="73AFB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D0F4471-0750-458E-9BE1-DE471BD4D454}">
      <dsp:nvSpPr>
        <dsp:cNvPr id="0" name=""/>
        <dsp:cNvSpPr/>
      </dsp:nvSpPr>
      <dsp:spPr>
        <a:xfrm>
          <a:off x="5050168" y="618308"/>
          <a:ext cx="1017622" cy="503233"/>
        </a:xfrm>
        <a:prstGeom prst="rect">
          <a:avLst/>
        </a:prstGeom>
        <a:solidFill>
          <a:schemeClr val="accent2"/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t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100" b="1" kern="1200" dirty="0">
              <a:solidFill>
                <a:schemeClr val="bg1"/>
              </a:solidFill>
            </a:rPr>
            <a:t>Feb 2019 </a:t>
          </a:r>
          <a:r>
            <a:rPr lang="en-ZA" sz="1100" b="1" kern="1200" dirty="0" err="1">
              <a:solidFill>
                <a:schemeClr val="bg1"/>
              </a:solidFill>
            </a:rPr>
            <a:t>Bosberaad</a:t>
          </a:r>
          <a:endParaRPr lang="en-ZA" sz="1100" b="1" kern="1200" dirty="0">
            <a:solidFill>
              <a:schemeClr val="bg1"/>
            </a:solidFill>
          </a:endParaRPr>
        </a:p>
      </dsp:txBody>
      <dsp:txXfrm>
        <a:off x="5050168" y="618308"/>
        <a:ext cx="1017622" cy="503233"/>
      </dsp:txXfrm>
    </dsp:sp>
    <dsp:sp modelId="{50D09536-F25C-4F5F-A084-ED74BADBB05A}">
      <dsp:nvSpPr>
        <dsp:cNvPr id="0" name=""/>
        <dsp:cNvSpPr/>
      </dsp:nvSpPr>
      <dsp:spPr>
        <a:xfrm>
          <a:off x="3664976" y="1302071"/>
          <a:ext cx="291020" cy="291020"/>
        </a:xfrm>
        <a:prstGeom prst="ellipse">
          <a:avLst/>
        </a:prstGeom>
        <a:solidFill>
          <a:srgbClr val="73AFB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3B3BAE7-DC3C-4350-BCF4-658EBE492F96}">
      <dsp:nvSpPr>
        <dsp:cNvPr id="0" name=""/>
        <dsp:cNvSpPr/>
      </dsp:nvSpPr>
      <dsp:spPr>
        <a:xfrm>
          <a:off x="4229382" y="1615407"/>
          <a:ext cx="977243" cy="6160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b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100" b="1" kern="1200" dirty="0"/>
            <a:t>Jan 2019</a:t>
          </a:r>
          <a:br>
            <a:rPr lang="en-ZA" sz="1100" b="1" kern="1200" dirty="0"/>
          </a:br>
          <a:r>
            <a:rPr lang="en-ZA" sz="1100" b="1" kern="1200" dirty="0"/>
            <a:t>PG MTEC 2</a:t>
          </a:r>
        </a:p>
      </dsp:txBody>
      <dsp:txXfrm>
        <a:off x="4229382" y="1615407"/>
        <a:ext cx="977243" cy="616044"/>
      </dsp:txXfrm>
    </dsp:sp>
    <dsp:sp modelId="{C300A0A0-08ED-48B8-9040-267B33062123}">
      <dsp:nvSpPr>
        <dsp:cNvPr id="0" name=""/>
        <dsp:cNvSpPr/>
      </dsp:nvSpPr>
      <dsp:spPr>
        <a:xfrm>
          <a:off x="4544427" y="1309692"/>
          <a:ext cx="291020" cy="291020"/>
        </a:xfrm>
        <a:prstGeom prst="ellipse">
          <a:avLst/>
        </a:prstGeom>
        <a:solidFill>
          <a:srgbClr val="73AFB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9AD061-5F22-48E1-94A9-D744CA088D5E}">
      <dsp:nvSpPr>
        <dsp:cNvPr id="0" name=""/>
        <dsp:cNvSpPr/>
      </dsp:nvSpPr>
      <dsp:spPr>
        <a:xfrm>
          <a:off x="5202731" y="1746125"/>
          <a:ext cx="783862" cy="11640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t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100" b="1" kern="1200" dirty="0"/>
            <a:t>Feb 2019 SOPA</a:t>
          </a:r>
        </a:p>
      </dsp:txBody>
      <dsp:txXfrm>
        <a:off x="5202731" y="1746125"/>
        <a:ext cx="783862" cy="1164083"/>
      </dsp:txXfrm>
    </dsp:sp>
    <dsp:sp modelId="{AF3BDC5F-3494-47DE-9B12-0A9F70F78747}">
      <dsp:nvSpPr>
        <dsp:cNvPr id="0" name=""/>
        <dsp:cNvSpPr/>
      </dsp:nvSpPr>
      <dsp:spPr>
        <a:xfrm>
          <a:off x="5411530" y="1302644"/>
          <a:ext cx="291020" cy="291020"/>
        </a:xfrm>
        <a:prstGeom prst="ellipse">
          <a:avLst/>
        </a:prstGeom>
        <a:solidFill>
          <a:srgbClr val="73AFB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88C02BC-EA5F-44CF-B709-5D1875FF5DAE}">
      <dsp:nvSpPr>
        <dsp:cNvPr id="0" name=""/>
        <dsp:cNvSpPr/>
      </dsp:nvSpPr>
      <dsp:spPr>
        <a:xfrm>
          <a:off x="6059525" y="0"/>
          <a:ext cx="444116" cy="116408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1592" tIns="291592" rIns="291592" bIns="291592" numCol="1" spcCol="1270" anchor="b" anchorCtr="0">
          <a:noAutofit/>
        </a:bodyPr>
        <a:lstStyle/>
        <a:p>
          <a:pPr lvl="0" algn="ctr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ZA" sz="4100" kern="1200"/>
        </a:p>
      </dsp:txBody>
      <dsp:txXfrm>
        <a:off x="6059525" y="0"/>
        <a:ext cx="444116" cy="1164083"/>
      </dsp:txXfrm>
    </dsp:sp>
    <dsp:sp modelId="{C27DDE77-65F0-4736-A1EA-0AA5AEEE89C8}">
      <dsp:nvSpPr>
        <dsp:cNvPr id="0" name=""/>
        <dsp:cNvSpPr/>
      </dsp:nvSpPr>
      <dsp:spPr>
        <a:xfrm>
          <a:off x="6266046" y="1297004"/>
          <a:ext cx="291020" cy="291020"/>
        </a:xfrm>
        <a:prstGeom prst="ellipse">
          <a:avLst/>
        </a:prstGeom>
        <a:solidFill>
          <a:srgbClr val="73AFB6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E3C5330-9222-4011-9442-8BF72FECBB3F}">
      <dsp:nvSpPr>
        <dsp:cNvPr id="0" name=""/>
        <dsp:cNvSpPr/>
      </dsp:nvSpPr>
      <dsp:spPr>
        <a:xfrm>
          <a:off x="6678025" y="1706043"/>
          <a:ext cx="1038603" cy="120039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t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100" b="1" kern="1200" dirty="0"/>
            <a:t>May 2019 </a:t>
          </a:r>
          <a:br>
            <a:rPr lang="en-ZA" sz="1100" b="1" kern="1200" dirty="0"/>
          </a:br>
          <a:r>
            <a:rPr lang="en-ZA" sz="1100" b="1" kern="1200" dirty="0"/>
            <a:t>Strategic Integrated Budgeting Engagement</a:t>
          </a:r>
        </a:p>
      </dsp:txBody>
      <dsp:txXfrm>
        <a:off x="6678025" y="1706043"/>
        <a:ext cx="1038603" cy="1200391"/>
      </dsp:txXfrm>
    </dsp:sp>
    <dsp:sp modelId="{2F58B0B7-4623-422F-8A3B-7B563249E188}">
      <dsp:nvSpPr>
        <dsp:cNvPr id="0" name=""/>
        <dsp:cNvSpPr/>
      </dsp:nvSpPr>
      <dsp:spPr>
        <a:xfrm>
          <a:off x="7084377" y="1309692"/>
          <a:ext cx="291020" cy="291020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69C8FC10-AB30-418D-98AD-31BF21DDAF72}">
      <dsp:nvSpPr>
        <dsp:cNvPr id="0" name=""/>
        <dsp:cNvSpPr/>
      </dsp:nvSpPr>
      <dsp:spPr>
        <a:xfrm rot="5400000">
          <a:off x="3774619" y="-1595145"/>
          <a:ext cx="3372941" cy="6563232"/>
        </a:xfrm>
        <a:prstGeom prst="round2SameRect">
          <a:avLst/>
        </a:prstGeom>
        <a:solidFill>
          <a:srgbClr val="D1CDC9">
            <a:alpha val="89804"/>
          </a:srgb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 rtl="0">
            <a:lnSpc>
              <a:spcPct val="12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en-ZA" sz="1600" b="1" kern="1200" dirty="0">
              <a:solidFill>
                <a:schemeClr val="tx1"/>
              </a:solidFill>
              <a:latin typeface="Century Gothic" pitchFamily="34" charset="0"/>
            </a:rPr>
            <a:t>Chapter 1: 	Introduction and executive summary</a:t>
          </a:r>
        </a:p>
        <a:p>
          <a:pPr marL="171450" lvl="1" indent="-171450" algn="l" defTabSz="711200" rtl="0">
            <a:lnSpc>
              <a:spcPct val="12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en-US" sz="1600" b="1" kern="1200" dirty="0">
              <a:solidFill>
                <a:schemeClr val="tx1"/>
              </a:solidFill>
              <a:latin typeface="Century Gothic" pitchFamily="34" charset="0"/>
            </a:rPr>
            <a:t>Chapter 2: 	Macroeconomic performance and outlook</a:t>
          </a:r>
          <a:endParaRPr lang="en-ZA" sz="1600" b="1" kern="1200" dirty="0">
            <a:solidFill>
              <a:schemeClr val="tx1"/>
            </a:solidFill>
            <a:latin typeface="Century Gothic" pitchFamily="34" charset="0"/>
          </a:endParaRPr>
        </a:p>
        <a:p>
          <a:pPr marL="171450" lvl="1" indent="-171450" algn="l" defTabSz="711200" rtl="0">
            <a:lnSpc>
              <a:spcPct val="12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en-US" sz="1600" b="1" kern="1200" dirty="0">
              <a:solidFill>
                <a:schemeClr val="tx1"/>
              </a:solidFill>
              <a:latin typeface="Century Gothic" pitchFamily="34" charset="0"/>
            </a:rPr>
            <a:t>Chapter 3: 	Development of the Western Cape economy: 		Sectoral and spatial dimensions</a:t>
          </a:r>
          <a:endParaRPr lang="en-ZA" sz="1600" b="1" kern="1200" dirty="0">
            <a:solidFill>
              <a:schemeClr val="tx1"/>
            </a:solidFill>
            <a:latin typeface="Century Gothic" pitchFamily="34" charset="0"/>
          </a:endParaRPr>
        </a:p>
        <a:p>
          <a:pPr marL="171450" lvl="1" indent="-171450" algn="l" defTabSz="711200" rtl="0">
            <a:lnSpc>
              <a:spcPct val="12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en-US" sz="1600" b="1" kern="1200" dirty="0">
              <a:solidFill>
                <a:schemeClr val="tx1"/>
              </a:solidFill>
              <a:latin typeface="Century Gothic" pitchFamily="34" charset="0"/>
            </a:rPr>
            <a:t>Chapter 4: 	Labour market dynamics</a:t>
          </a:r>
          <a:endParaRPr lang="en-ZA" sz="1600" b="1" kern="1200" dirty="0">
            <a:solidFill>
              <a:schemeClr val="tx1"/>
            </a:solidFill>
            <a:latin typeface="Century Gothic" pitchFamily="34" charset="0"/>
          </a:endParaRPr>
        </a:p>
        <a:p>
          <a:pPr marL="171450" lvl="1" indent="-171450" algn="l" defTabSz="711200" rtl="0">
            <a:lnSpc>
              <a:spcPct val="120000"/>
            </a:lnSpc>
            <a:spcBef>
              <a:spcPct val="0"/>
            </a:spcBef>
            <a:spcAft>
              <a:spcPts val="0"/>
            </a:spcAft>
            <a:buChar char="••"/>
          </a:pPr>
          <a:r>
            <a:rPr lang="en-ZA" sz="1600" b="1" kern="1200" dirty="0">
              <a:solidFill>
                <a:schemeClr val="tx1"/>
              </a:solidFill>
              <a:latin typeface="Century Gothic" pitchFamily="34" charset="0"/>
            </a:rPr>
            <a:t>Chapter 5: 	Socio-economic developments in the 			Western Cape</a:t>
          </a:r>
        </a:p>
      </dsp:txBody>
      <dsp:txXfrm rot="5400000">
        <a:off x="3774619" y="-1595145"/>
        <a:ext cx="3372941" cy="6563232"/>
      </dsp:txXfrm>
    </dsp:sp>
    <dsp:sp modelId="{3B1807DF-E1AB-44AF-92F9-2580B40524BF}">
      <dsp:nvSpPr>
        <dsp:cNvPr id="0" name=""/>
        <dsp:cNvSpPr/>
      </dsp:nvSpPr>
      <dsp:spPr>
        <a:xfrm>
          <a:off x="1070" y="1645"/>
          <a:ext cx="2177334" cy="3372955"/>
        </a:xfrm>
        <a:prstGeom prst="roundRect">
          <a:avLst/>
        </a:prstGeom>
        <a:solidFill>
          <a:srgbClr val="003399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ZA" sz="2000" b="1" kern="1200" dirty="0">
            <a:latin typeface="Century Gothic" pitchFamily="34" charset="0"/>
          </a:endParaRPr>
        </a:p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ZA" sz="2000" b="1" kern="1200" dirty="0">
            <a:latin typeface="Century Gothic" pitchFamily="34" charset="0"/>
          </a:endParaRPr>
        </a:p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ZA" sz="4400" b="1" kern="1200" dirty="0">
              <a:latin typeface="Century Gothic" pitchFamily="34" charset="0"/>
            </a:rPr>
            <a:t>PERO</a:t>
          </a:r>
        </a:p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ZA" sz="1200" b="1" kern="1200" dirty="0">
            <a:latin typeface="Century Gothic" pitchFamily="34" charset="0"/>
          </a:endParaRPr>
        </a:p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ZA" sz="1200" b="1" kern="1200" dirty="0">
            <a:latin typeface="Century Gothic" pitchFamily="34" charset="0"/>
          </a:endParaRPr>
        </a:p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en-ZA" sz="2400" b="1" kern="1200" dirty="0">
            <a:latin typeface="Century Gothic" pitchFamily="34" charset="0"/>
          </a:endParaRPr>
        </a:p>
      </dsp:txBody>
      <dsp:txXfrm>
        <a:off x="1070" y="1645"/>
        <a:ext cx="2177334" cy="3372955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default#1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6"/>
            <a:ext cx="2946400" cy="496492"/>
          </a:xfrm>
          <a:prstGeom prst="rect">
            <a:avLst/>
          </a:prstGeom>
        </p:spPr>
        <p:txBody>
          <a:bodyPr vert="horz" lIns="91552" tIns="45777" rIns="91552" bIns="45777" rtlCol="0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9" y="6"/>
            <a:ext cx="2946400" cy="496492"/>
          </a:xfrm>
          <a:prstGeom prst="rect">
            <a:avLst/>
          </a:prstGeom>
        </p:spPr>
        <p:txBody>
          <a:bodyPr vert="horz" lIns="91552" tIns="45777" rIns="91552" bIns="45777" rtlCol="0"/>
          <a:lstStyle>
            <a:lvl1pPr algn="r">
              <a:defRPr sz="1200"/>
            </a:lvl1pPr>
          </a:lstStyle>
          <a:p>
            <a:fld id="{73FB7783-57C4-442F-8FA4-623BE65DFC45}" type="datetimeFigureOut">
              <a:rPr lang="en-ZA" smtClean="0"/>
              <a:pPr/>
              <a:t>2018/09/28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9430140"/>
            <a:ext cx="2946400" cy="496491"/>
          </a:xfrm>
          <a:prstGeom prst="rect">
            <a:avLst/>
          </a:prstGeom>
        </p:spPr>
        <p:txBody>
          <a:bodyPr vert="horz" lIns="91552" tIns="45777" rIns="91552" bIns="45777" rtlCol="0" anchor="b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9" y="9430140"/>
            <a:ext cx="2946400" cy="496491"/>
          </a:xfrm>
          <a:prstGeom prst="rect">
            <a:avLst/>
          </a:prstGeom>
        </p:spPr>
        <p:txBody>
          <a:bodyPr vert="horz" lIns="91552" tIns="45777" rIns="91552" bIns="45777" rtlCol="0" anchor="b"/>
          <a:lstStyle>
            <a:lvl1pPr algn="r">
              <a:defRPr sz="1200"/>
            </a:lvl1pPr>
          </a:lstStyle>
          <a:p>
            <a:fld id="{3042547B-C7F3-4218-86E5-F99419DFF402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4155343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1" y="9"/>
            <a:ext cx="2945659" cy="496412"/>
          </a:xfrm>
          <a:prstGeom prst="rect">
            <a:avLst/>
          </a:prstGeom>
        </p:spPr>
        <p:txBody>
          <a:bodyPr vert="horz" lIns="91552" tIns="45777" rIns="91552" bIns="45777" rtlCol="0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54" y="9"/>
            <a:ext cx="2945659" cy="496412"/>
          </a:xfrm>
          <a:prstGeom prst="rect">
            <a:avLst/>
          </a:prstGeom>
        </p:spPr>
        <p:txBody>
          <a:bodyPr vert="horz" lIns="91552" tIns="45777" rIns="91552" bIns="45777" rtlCol="0"/>
          <a:lstStyle>
            <a:lvl1pPr algn="r">
              <a:defRPr sz="1200"/>
            </a:lvl1pPr>
          </a:lstStyle>
          <a:p>
            <a:fld id="{4E92C107-3DD0-4845-ABE1-E17DAD5A732A}" type="datetimeFigureOut">
              <a:rPr lang="en-ZA" smtClean="0"/>
              <a:pPr/>
              <a:t>2018/09/28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6125"/>
            <a:ext cx="4962525" cy="37226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52" tIns="45777" rIns="91552" bIns="45777" rtlCol="0" anchor="ctr"/>
          <a:lstStyle/>
          <a:p>
            <a:endParaRPr lang="en-Z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9" y="4715913"/>
            <a:ext cx="5438140" cy="4467702"/>
          </a:xfrm>
          <a:prstGeom prst="rect">
            <a:avLst/>
          </a:prstGeom>
        </p:spPr>
        <p:txBody>
          <a:bodyPr vert="horz" lIns="91552" tIns="45777" rIns="91552" bIns="4577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1" y="9430098"/>
            <a:ext cx="2945659" cy="496412"/>
          </a:xfrm>
          <a:prstGeom prst="rect">
            <a:avLst/>
          </a:prstGeom>
        </p:spPr>
        <p:txBody>
          <a:bodyPr vert="horz" lIns="91552" tIns="45777" rIns="91552" bIns="45777" rtlCol="0" anchor="b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54" y="9430098"/>
            <a:ext cx="2945659" cy="496412"/>
          </a:xfrm>
          <a:prstGeom prst="rect">
            <a:avLst/>
          </a:prstGeom>
        </p:spPr>
        <p:txBody>
          <a:bodyPr vert="horz" lIns="91552" tIns="45777" rIns="91552" bIns="45777" rtlCol="0" anchor="b"/>
          <a:lstStyle>
            <a:lvl1pPr algn="r">
              <a:defRPr sz="1200"/>
            </a:lvl1pPr>
          </a:lstStyle>
          <a:p>
            <a:fld id="{6E001475-3DAE-488D-AFE4-E53F22D491DC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842205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001475-3DAE-488D-AFE4-E53F22D491DC}" type="slidenum">
              <a:rPr lang="en-ZA" smtClean="0"/>
              <a:pPr/>
              <a:t>1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97102818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ZA" dirty="0"/>
              <a:t>The main economic sectors in most of the regional economies are </a:t>
            </a:r>
            <a:r>
              <a:rPr lang="en-ZA"/>
              <a:t>the finance, insurance, </a:t>
            </a:r>
            <a:r>
              <a:rPr lang="en-ZA" dirty="0"/>
              <a:t>real estate and business </a:t>
            </a:r>
            <a:r>
              <a:rPr lang="en-ZA"/>
              <a:t>services sector, </a:t>
            </a:r>
            <a:r>
              <a:rPr lang="en-ZA" dirty="0"/>
              <a:t>the wholesale and </a:t>
            </a:r>
            <a:r>
              <a:rPr lang="en-ZA"/>
              <a:t>retail trade, </a:t>
            </a:r>
            <a:r>
              <a:rPr lang="en-ZA" dirty="0"/>
              <a:t>catering and accommodation sector and the manufacturing sector. </a:t>
            </a:r>
          </a:p>
          <a:p>
            <a:pPr marL="171450" indent="-171450">
              <a:buFontTx/>
              <a:buChar char="-"/>
            </a:pPr>
            <a:r>
              <a:rPr lang="en-ZA" dirty="0"/>
              <a:t>In the West Coast and Central </a:t>
            </a:r>
            <a:r>
              <a:rPr lang="en-ZA"/>
              <a:t>Karoo Districts, the agriculture, </a:t>
            </a:r>
            <a:r>
              <a:rPr lang="en-ZA" dirty="0"/>
              <a:t>forestry and fishing sector also makes a large economic contribution. </a:t>
            </a:r>
          </a:p>
          <a:p>
            <a:pPr marL="171450" indent="-171450">
              <a:buFontTx/>
              <a:buChar char="-"/>
            </a:pPr>
            <a:r>
              <a:rPr lang="en-ZA" dirty="0"/>
              <a:t>In the Central </a:t>
            </a:r>
            <a:r>
              <a:rPr lang="en-ZA"/>
              <a:t>Karoo District, </a:t>
            </a:r>
            <a:r>
              <a:rPr lang="en-ZA" dirty="0"/>
              <a:t>the general government sector is the main </a:t>
            </a:r>
            <a:r>
              <a:rPr lang="en-ZA"/>
              <a:t>economic sector, contributing 20,9 </a:t>
            </a:r>
            <a:r>
              <a:rPr lang="en-ZA" dirty="0"/>
              <a:t>per cent. </a:t>
            </a:r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001475-3DAE-488D-AFE4-E53F22D491DC}" type="slidenum">
              <a:rPr lang="en-ZA" smtClean="0"/>
              <a:pPr/>
              <a:t>16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688908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ZA" dirty="0"/>
              <a:t>In general growth has been declining across </a:t>
            </a:r>
            <a:r>
              <a:rPr lang="en-ZA"/>
              <a:t>all sectors, </a:t>
            </a:r>
            <a:r>
              <a:rPr lang="en-ZA" dirty="0"/>
              <a:t>particularly the tertiary sectors. The performance of the tertiary sectors as well as </a:t>
            </a:r>
            <a:r>
              <a:rPr lang="en-ZA"/>
              <a:t>the agriculture, </a:t>
            </a:r>
            <a:r>
              <a:rPr lang="en-ZA" dirty="0"/>
              <a:t>forestry and fishing sectors has a large influence of overall economic growth. </a:t>
            </a:r>
            <a:r>
              <a:rPr lang="en-ZA"/>
              <a:t>The agriculture, </a:t>
            </a:r>
            <a:r>
              <a:rPr lang="en-ZA" dirty="0"/>
              <a:t>forestry and fishing sector has experienced very volatile growth rates over the past five years and is expected to contract severely </a:t>
            </a:r>
            <a:r>
              <a:rPr lang="en-ZA"/>
              <a:t>in 2018, </a:t>
            </a:r>
            <a:r>
              <a:rPr lang="en-ZA" dirty="0"/>
              <a:t>which will also impact the manufacturing sector.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001475-3DAE-488D-AFE4-E53F22D491DC}" type="slidenum">
              <a:rPr lang="en-ZA" smtClean="0"/>
              <a:pPr/>
              <a:t>17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43524668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/>
              <a:t>Growth is expected to slow down </a:t>
            </a:r>
            <a:r>
              <a:rPr lang="en-ZA"/>
              <a:t>in 2018, </a:t>
            </a:r>
            <a:r>
              <a:rPr lang="en-ZA" dirty="0"/>
              <a:t>mainly due to a severe contraction in </a:t>
            </a:r>
            <a:r>
              <a:rPr lang="en-ZA"/>
              <a:t>the agriculture, </a:t>
            </a:r>
            <a:r>
              <a:rPr lang="en-ZA" dirty="0"/>
              <a:t>forestry and fishing sector. This is expected to lead to contracting economies in the </a:t>
            </a:r>
            <a:r>
              <a:rPr lang="en-ZA"/>
              <a:t>West Coast, Cape Winelands, </a:t>
            </a:r>
            <a:r>
              <a:rPr lang="en-ZA" dirty="0"/>
              <a:t>Overberg and Central Karoo economies. </a:t>
            </a:r>
          </a:p>
          <a:p>
            <a:r>
              <a:rPr lang="en-ZA" dirty="0"/>
              <a:t>Growth is expected to recover </a:t>
            </a:r>
            <a:r>
              <a:rPr lang="en-ZA"/>
              <a:t>in 2019, </a:t>
            </a:r>
            <a:r>
              <a:rPr lang="en-ZA" dirty="0"/>
              <a:t>with a provincial estimated growth rate </a:t>
            </a:r>
            <a:r>
              <a:rPr lang="en-ZA"/>
              <a:t>of 2,7 </a:t>
            </a:r>
            <a:r>
              <a:rPr lang="en-ZA" dirty="0"/>
              <a:t>per cent. </a:t>
            </a:r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001475-3DAE-488D-AFE4-E53F22D491DC}" type="slidenum">
              <a:rPr lang="en-ZA" smtClean="0"/>
              <a:pPr/>
              <a:t>18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6821635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9286" indent="-229286">
              <a:lnSpc>
                <a:spcPct val="120000"/>
              </a:lnSpc>
              <a:spcBef>
                <a:spcPts val="1204"/>
              </a:spcBef>
              <a:buBlip>
                <a:blip r:embed="rId3"/>
              </a:buBlip>
            </a:pPr>
            <a:r>
              <a:rPr lang="en-US" dirty="0"/>
              <a:t>Agriculture and exports: </a:t>
            </a:r>
            <a:r>
              <a:rPr lang="en-US" b="0" dirty="0"/>
              <a:t>The fastest growing export sector in the Western Cape </a:t>
            </a:r>
            <a:r>
              <a:rPr lang="en-US" b="0"/>
              <a:t>was agriculture, </a:t>
            </a:r>
            <a:r>
              <a:rPr lang="en-US" b="0" dirty="0"/>
              <a:t>increasing by 15.2 per cent compared to 2016. More than half </a:t>
            </a:r>
            <a:br>
              <a:rPr lang="en-US" b="0" dirty="0"/>
            </a:br>
            <a:r>
              <a:rPr lang="en-US" b="0" dirty="0"/>
              <a:t>(52.7 per cent) of South Africa’s agriculture exports came from the Western Cape </a:t>
            </a:r>
          </a:p>
          <a:p>
            <a:pPr marL="229286" indent="-229286">
              <a:lnSpc>
                <a:spcPct val="120000"/>
              </a:lnSpc>
              <a:spcBef>
                <a:spcPts val="1204"/>
              </a:spcBef>
              <a:buBlip>
                <a:blip r:embed="rId3"/>
              </a:buBlip>
            </a:pPr>
            <a:r>
              <a:rPr lang="en-ZA" dirty="0"/>
              <a:t>Impact of drought: </a:t>
            </a:r>
            <a:r>
              <a:rPr lang="en-US" b="0" dirty="0"/>
              <a:t>Due to a drought-induced decline in value added by the agriculture sector </a:t>
            </a:r>
            <a:r>
              <a:rPr lang="en-US" b="0"/>
              <a:t>in 2018, </a:t>
            </a:r>
            <a:r>
              <a:rPr lang="en-US" b="0" dirty="0"/>
              <a:t>the sector is expected to be a major drag on growth from 2018 to 2022</a:t>
            </a:r>
          </a:p>
          <a:p>
            <a:pPr marL="229286" indent="-229286">
              <a:lnSpc>
                <a:spcPct val="120000"/>
              </a:lnSpc>
              <a:spcBef>
                <a:spcPts val="1204"/>
              </a:spcBef>
              <a:buBlip>
                <a:blip r:embed="rId3"/>
              </a:buBlip>
            </a:pPr>
            <a:r>
              <a:rPr lang="en-ZA" dirty="0"/>
              <a:t>Vulnerable districts: </a:t>
            </a:r>
            <a:r>
              <a:rPr lang="en-US" b="0"/>
              <a:t>Two districts, </a:t>
            </a:r>
            <a:r>
              <a:rPr lang="en-US" b="0" dirty="0"/>
              <a:t>Central Karoo (-0.8 per cent) and West Coast </a:t>
            </a:r>
            <a:br>
              <a:rPr lang="en-US" b="0" dirty="0"/>
            </a:br>
            <a:r>
              <a:rPr lang="en-US" b="0" dirty="0"/>
              <a:t>(-0.3 per cent) recorded negative growth rates in 2016 with </a:t>
            </a:r>
            <a:r>
              <a:rPr lang="en-US" b="0"/>
              <a:t>the Agriculture, </a:t>
            </a:r>
            <a:r>
              <a:rPr lang="en-US" b="0" dirty="0"/>
              <a:t>forestry and fishing sector as the largest contributor to these negative growth rates</a:t>
            </a:r>
          </a:p>
          <a:p>
            <a:pPr marL="229286" indent="-229286" defTabSz="917146">
              <a:lnSpc>
                <a:spcPct val="120000"/>
              </a:lnSpc>
              <a:spcBef>
                <a:spcPts val="1204"/>
              </a:spcBef>
              <a:buBlip>
                <a:blip r:embed="rId3"/>
              </a:buBlip>
              <a:defRPr/>
            </a:pPr>
            <a:r>
              <a:rPr lang="en-ZA" dirty="0"/>
              <a:t>Agriculture sector employment has declined in 2016 and 2017. </a:t>
            </a:r>
          </a:p>
          <a:p>
            <a:pPr marL="229286" indent="-229286" defTabSz="917146">
              <a:lnSpc>
                <a:spcPct val="120000"/>
              </a:lnSpc>
              <a:spcBef>
                <a:spcPts val="1204"/>
              </a:spcBef>
              <a:buBlip>
                <a:blip r:embed="rId3"/>
              </a:buBlip>
              <a:defRPr/>
            </a:pPr>
            <a:r>
              <a:rPr lang="en-ZA" dirty="0"/>
              <a:t>Crop in brackets indicate the main increase/or decrease that resulted in the net increase/decrease</a:t>
            </a:r>
          </a:p>
          <a:p>
            <a:pPr>
              <a:lnSpc>
                <a:spcPct val="120000"/>
              </a:lnSpc>
              <a:spcBef>
                <a:spcPts val="1204"/>
              </a:spcBef>
            </a:pPr>
            <a:endParaRPr lang="en-US" b="0" dirty="0"/>
          </a:p>
          <a:p>
            <a:endParaRPr lang="en-ZA" dirty="0"/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5772">
              <a:defRPr/>
            </a:pPr>
            <a:fld id="{6E001475-3DAE-488D-AFE4-E53F22D491DC}" type="slidenum">
              <a:rPr lang="en-ZA" sz="1800" kern="0">
                <a:solidFill>
                  <a:sysClr val="windowText" lastClr="000000"/>
                </a:solidFill>
              </a:rPr>
              <a:pPr defTabSz="915772">
                <a:defRPr/>
              </a:pPr>
              <a:t>19</a:t>
            </a:fld>
            <a:endParaRPr lang="en-ZA" sz="1800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748821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3188" y="1144588"/>
            <a:ext cx="4121150" cy="3092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745180" lvl="1" indent="-286608">
              <a:lnSpc>
                <a:spcPct val="110000"/>
              </a:lnSpc>
              <a:buFont typeface="Arial" panose="020B0604020202020204" pitchFamily="34" charset="0"/>
              <a:buChar char="•"/>
              <a:tabLst>
                <a:tab pos="458573" algn="l"/>
              </a:tabLst>
            </a:pPr>
            <a:r>
              <a:rPr lang="en-GB" sz="1300" dirty="0"/>
              <a:t>Labour market performance was muted over the past five years</a:t>
            </a:r>
          </a:p>
          <a:p>
            <a:pPr marL="745180" lvl="1" indent="-286608">
              <a:lnSpc>
                <a:spcPct val="110000"/>
              </a:lnSpc>
              <a:buFont typeface="Arial" panose="020B0604020202020204" pitchFamily="34" charset="0"/>
              <a:buChar char="•"/>
              <a:tabLst>
                <a:tab pos="458573" algn="l"/>
              </a:tabLst>
            </a:pPr>
            <a:r>
              <a:rPr lang="en-GB" sz="1300" dirty="0"/>
              <a:t>Employment growth in the Agriculture and </a:t>
            </a:r>
            <a:r>
              <a:rPr lang="en-GB" sz="1300" dirty="0" err="1"/>
              <a:t>agri</a:t>
            </a:r>
            <a:r>
              <a:rPr lang="en-GB" sz="1300" dirty="0"/>
              <a:t> processing to be muted due to the drought </a:t>
            </a:r>
          </a:p>
          <a:p>
            <a:pPr marL="745180" lvl="1" indent="-286608">
              <a:lnSpc>
                <a:spcPct val="110000"/>
              </a:lnSpc>
              <a:buFont typeface="Arial" panose="020B0604020202020204" pitchFamily="34" charset="0"/>
              <a:buChar char="•"/>
              <a:tabLst>
                <a:tab pos="458573" algn="l"/>
              </a:tabLst>
            </a:pPr>
            <a:r>
              <a:rPr lang="en-GB" sz="1300" dirty="0"/>
              <a:t>Youth faces the burden of unemployment</a:t>
            </a:r>
            <a:endParaRPr lang="en-US" sz="1300" dirty="0"/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7146">
              <a:defRPr/>
            </a:pPr>
            <a:fld id="{97CD83B6-4871-47F0-A8BA-CBC12105903C}" type="slidenum">
              <a:rPr lang="en-ZA" sz="1800" kern="0">
                <a:solidFill>
                  <a:sysClr val="windowText" lastClr="000000"/>
                </a:solidFill>
              </a:rPr>
              <a:pPr defTabSz="917146">
                <a:defRPr/>
              </a:pPr>
              <a:t>20</a:t>
            </a:fld>
            <a:endParaRPr lang="en-ZA" sz="18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3269396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>
                <a:solidFill>
                  <a:prstClr val="black"/>
                </a:solidFill>
              </a:rPr>
              <a:pPr/>
              <a:t>25</a:t>
            </a:fld>
            <a:endParaRPr lang="en-Z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25575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6150" indent="-286150">
              <a:lnSpc>
                <a:spcPct val="130000"/>
              </a:lnSpc>
              <a:spcBef>
                <a:spcPts val="601"/>
              </a:spcBef>
              <a:buBlip>
                <a:blip r:embed="rId3"/>
              </a:buBlip>
            </a:pPr>
            <a:r>
              <a:rPr lang="en-US" sz="1800" dirty="0"/>
              <a:t>PERO and MERO are examples of evidence-based approach to inform policy making</a:t>
            </a:r>
          </a:p>
          <a:p>
            <a:pPr marL="286150" indent="-286150">
              <a:lnSpc>
                <a:spcPct val="130000"/>
              </a:lnSpc>
              <a:spcBef>
                <a:spcPts val="901"/>
              </a:spcBef>
              <a:buBlip>
                <a:blip r:embed="rId3"/>
              </a:buBlip>
            </a:pPr>
            <a:r>
              <a:rPr lang="en-US" sz="1800" dirty="0"/>
              <a:t>The economic and socio-economic research used to inform and guide provincial and </a:t>
            </a:r>
            <a:r>
              <a:rPr lang="en-US" sz="1800"/>
              <a:t>municipal planning, </a:t>
            </a:r>
            <a:r>
              <a:rPr lang="en-US" sz="1800" dirty="0"/>
              <a:t>and fiscal &amp; budget policy implementation </a:t>
            </a:r>
          </a:p>
          <a:p>
            <a:pPr marL="286150" indent="-286150">
              <a:lnSpc>
                <a:spcPct val="130000"/>
              </a:lnSpc>
              <a:spcBef>
                <a:spcPts val="901"/>
              </a:spcBef>
              <a:buBlip>
                <a:blip r:embed="rId3"/>
              </a:buBlip>
            </a:pPr>
            <a:r>
              <a:rPr lang="en-US" sz="1800" dirty="0"/>
              <a:t>Trends highlighted in the PERO and MERO also speak to impact of implementation of provincial and municipal services and </a:t>
            </a:r>
            <a:r>
              <a:rPr lang="en-US" sz="1800" dirty="0" err="1"/>
              <a:t>programmes</a:t>
            </a:r>
            <a:endParaRPr lang="en-US" sz="1800" dirty="0"/>
          </a:p>
          <a:p>
            <a:pPr marL="286150" indent="-286150">
              <a:lnSpc>
                <a:spcPct val="130000"/>
              </a:lnSpc>
              <a:spcBef>
                <a:spcPts val="901"/>
              </a:spcBef>
              <a:buBlip>
                <a:blip r:embed="rId3"/>
              </a:buBlip>
            </a:pPr>
            <a:r>
              <a:rPr lang="en-US" sz="1800" dirty="0"/>
              <a:t>Evidence-based approach supports </a:t>
            </a:r>
            <a:r>
              <a:rPr lang="en-US" sz="1800"/>
              <a:t>good governance, financial sustainability, </a:t>
            </a:r>
            <a:r>
              <a:rPr lang="en-US" sz="1800" dirty="0"/>
              <a:t>and  facilitates the creation of public value </a:t>
            </a:r>
          </a:p>
          <a:p>
            <a:pPr marL="286150" indent="-286150">
              <a:lnSpc>
                <a:spcPct val="130000"/>
              </a:lnSpc>
              <a:spcBef>
                <a:spcPts val="901"/>
              </a:spcBef>
              <a:buBlip>
                <a:blip r:embed="rId3"/>
              </a:buBlip>
            </a:pPr>
            <a:r>
              <a:rPr lang="en-US" sz="1800" dirty="0"/>
              <a:t>Collaborative effort and acknowledgement of contributions by the following departments:</a:t>
            </a:r>
          </a:p>
          <a:p>
            <a:pPr marL="457839" lvl="1" indent="-176459">
              <a:lnSpc>
                <a:spcPct val="130000"/>
              </a:lnSpc>
              <a:spcBef>
                <a:spcPts val="601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Social Development ; Education; Health; Human Settlements; Economic Development and Tourism;  Environmental Affairs and Development Planning; and Agriculture </a:t>
            </a:r>
          </a:p>
          <a:p>
            <a:pPr marL="286150" indent="-286150">
              <a:lnSpc>
                <a:spcPct val="130000"/>
              </a:lnSpc>
              <a:spcBef>
                <a:spcPts val="901"/>
              </a:spcBef>
              <a:buBlip>
                <a:blip r:embed="rId3"/>
              </a:buBlip>
            </a:pPr>
            <a:r>
              <a:rPr lang="en-US" sz="1800" dirty="0"/>
              <a:t>PERO and MERO Seminar was held on 6 September 20187 where the preliminary findings were deliberated by departmental representatives and other stakeholders</a:t>
            </a:r>
          </a:p>
          <a:p>
            <a:pPr marL="286150" indent="-286150">
              <a:lnSpc>
                <a:spcPct val="130000"/>
              </a:lnSpc>
              <a:spcBef>
                <a:spcPts val="901"/>
              </a:spcBef>
              <a:buBlip>
                <a:blip r:embed="rId3"/>
              </a:buBlip>
            </a:pPr>
            <a:r>
              <a:rPr lang="en-US" sz="1800" dirty="0"/>
              <a:t>PERO and MERO will inform and guide </a:t>
            </a:r>
            <a:r>
              <a:rPr lang="en-US" sz="1800"/>
              <a:t>the policy, planning, </a:t>
            </a:r>
            <a:r>
              <a:rPr lang="en-US" sz="1800" dirty="0"/>
              <a:t>budgeting and implementation cycle</a:t>
            </a:r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09922">
              <a:defRPr/>
            </a:pPr>
            <a:fld id="{6E001475-3DAE-488D-AFE4-E53F22D491DC}" type="slidenum">
              <a:rPr lang="en-ZA" sz="1800" kern="0">
                <a:solidFill>
                  <a:prstClr val="black"/>
                </a:solidFill>
              </a:rPr>
              <a:pPr defTabSz="909922">
                <a:defRPr/>
              </a:pPr>
              <a:t>4</a:t>
            </a:fld>
            <a:endParaRPr lang="en-ZA" sz="1800" ker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563099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001475-3DAE-488D-AFE4-E53F22D491DC}" type="slidenum">
              <a:rPr lang="en-ZA" smtClean="0"/>
              <a:pPr/>
              <a:t>6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40766174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745180" lvl="1" indent="-286608">
              <a:lnSpc>
                <a:spcPct val="110000"/>
              </a:lnSpc>
              <a:buFont typeface="Arial" panose="020B0604020202020204" pitchFamily="34" charset="0"/>
              <a:buChar char="•"/>
              <a:tabLst>
                <a:tab pos="458573" algn="l"/>
              </a:tabLst>
            </a:pPr>
            <a:r>
              <a:rPr lang="en-ZA" sz="1300" dirty="0">
                <a:solidFill>
                  <a:prstClr val="black"/>
                </a:solidFill>
              </a:rPr>
              <a:t>Global outlook uncertain. Escalating </a:t>
            </a:r>
            <a:r>
              <a:rPr lang="en-ZA" sz="1300">
                <a:solidFill>
                  <a:prstClr val="black"/>
                </a:solidFill>
              </a:rPr>
              <a:t>trade tensions, </a:t>
            </a:r>
            <a:r>
              <a:rPr lang="en-ZA" sz="1300" dirty="0">
                <a:solidFill>
                  <a:prstClr val="black"/>
                </a:solidFill>
              </a:rPr>
              <a:t>increasing monetary  </a:t>
            </a:r>
            <a:r>
              <a:rPr lang="en-ZA" sz="1300">
                <a:solidFill>
                  <a:prstClr val="black"/>
                </a:solidFill>
              </a:rPr>
              <a:t>policy tightening, </a:t>
            </a:r>
            <a:r>
              <a:rPr lang="en-ZA" sz="1300" dirty="0">
                <a:solidFill>
                  <a:prstClr val="black"/>
                </a:solidFill>
              </a:rPr>
              <a:t>and changing sentiment towards emerging and developing economies</a:t>
            </a:r>
          </a:p>
          <a:p>
            <a:pPr marL="745180" lvl="1" indent="-286608">
              <a:lnSpc>
                <a:spcPct val="110000"/>
              </a:lnSpc>
              <a:buFont typeface="Arial" panose="020B0604020202020204" pitchFamily="34" charset="0"/>
              <a:buChar char="•"/>
              <a:tabLst>
                <a:tab pos="458573" algn="l"/>
              </a:tabLst>
            </a:pPr>
            <a:r>
              <a:rPr lang="en-ZA" sz="1300" dirty="0">
                <a:solidFill>
                  <a:prstClr val="black"/>
                </a:solidFill>
              </a:rPr>
              <a:t>National economic outlook weak. Technical recession </a:t>
            </a:r>
            <a:r>
              <a:rPr lang="en-ZA" sz="1300">
                <a:solidFill>
                  <a:prstClr val="black"/>
                </a:solidFill>
              </a:rPr>
              <a:t>in 2018, </a:t>
            </a:r>
            <a:r>
              <a:rPr lang="en-ZA" sz="1300" dirty="0">
                <a:solidFill>
                  <a:prstClr val="black"/>
                </a:solidFill>
              </a:rPr>
              <a:t>loss in business confidence due to policy uncertainty “land </a:t>
            </a:r>
            <a:r>
              <a:rPr lang="en-ZA" sz="1300">
                <a:solidFill>
                  <a:prstClr val="black"/>
                </a:solidFill>
              </a:rPr>
              <a:t>reform”, </a:t>
            </a:r>
            <a:r>
              <a:rPr lang="en-ZA" sz="1300" dirty="0">
                <a:solidFill>
                  <a:prstClr val="black"/>
                </a:solidFill>
              </a:rPr>
              <a:t>fiscal </a:t>
            </a:r>
            <a:r>
              <a:rPr lang="en-ZA" sz="1300">
                <a:solidFill>
                  <a:prstClr val="black"/>
                </a:solidFill>
              </a:rPr>
              <a:t>targets credibility, </a:t>
            </a:r>
            <a:r>
              <a:rPr lang="en-ZA" sz="1300" dirty="0">
                <a:solidFill>
                  <a:prstClr val="black"/>
                </a:solidFill>
              </a:rPr>
              <a:t>and performance of state owned entities</a:t>
            </a:r>
          </a:p>
          <a:p>
            <a:pPr marL="745180" lvl="1" indent="-286608">
              <a:lnSpc>
                <a:spcPct val="110000"/>
              </a:lnSpc>
              <a:buFont typeface="Arial" panose="020B0604020202020204" pitchFamily="34" charset="0"/>
              <a:buChar char="•"/>
              <a:tabLst>
                <a:tab pos="458573" algn="l"/>
              </a:tabLst>
            </a:pPr>
            <a:r>
              <a:rPr lang="en-ZA" sz="1300" dirty="0">
                <a:solidFill>
                  <a:prstClr val="black"/>
                </a:solidFill>
              </a:rPr>
              <a:t>The Western Cape cannot escape the risks of the national economy. Additional risks include the uncertain rainfall outlook impacting agriculture and the impact of the VAT increase on consumer spending</a:t>
            </a:r>
          </a:p>
          <a:p>
            <a:pPr marL="745180" lvl="1" indent="-286608">
              <a:lnSpc>
                <a:spcPct val="110000"/>
              </a:lnSpc>
              <a:buFont typeface="Arial" panose="020B0604020202020204" pitchFamily="34" charset="0"/>
              <a:buChar char="•"/>
              <a:tabLst>
                <a:tab pos="458573" algn="l"/>
              </a:tabLst>
            </a:pPr>
            <a:r>
              <a:rPr lang="en-ZA" sz="1300">
                <a:solidFill>
                  <a:prstClr val="black"/>
                </a:solidFill>
              </a:rPr>
              <a:t>However, </a:t>
            </a:r>
            <a:r>
              <a:rPr lang="en-ZA" sz="1300" dirty="0">
                <a:solidFill>
                  <a:prstClr val="black"/>
                </a:solidFill>
              </a:rPr>
              <a:t>if the rainfall </a:t>
            </a:r>
            <a:r>
              <a:rPr lang="en-ZA" sz="1300">
                <a:solidFill>
                  <a:prstClr val="black"/>
                </a:solidFill>
              </a:rPr>
              <a:t>outlook improve, </a:t>
            </a:r>
            <a:r>
              <a:rPr lang="en-ZA" sz="1300" dirty="0">
                <a:solidFill>
                  <a:prstClr val="black"/>
                </a:solidFill>
              </a:rPr>
              <a:t>growth will accelerate in the Western Cape </a:t>
            </a:r>
            <a:endParaRPr lang="en-US" sz="1300" dirty="0">
              <a:solidFill>
                <a:prstClr val="black"/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001475-3DAE-488D-AFE4-E53F22D491DC}" type="slidenum">
              <a:rPr lang="en-ZA" smtClean="0"/>
              <a:pPr/>
              <a:t>7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42407726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745180" lvl="1" indent="-286608">
              <a:lnSpc>
                <a:spcPct val="110000"/>
              </a:lnSpc>
              <a:buFont typeface="Arial" panose="020B0604020202020204" pitchFamily="34" charset="0"/>
              <a:buChar char="•"/>
              <a:tabLst>
                <a:tab pos="458573" algn="l"/>
              </a:tabLst>
            </a:pPr>
            <a:r>
              <a:rPr lang="en-ZA" sz="1700" dirty="0"/>
              <a:t>A sharp moderation in economic growth is expected in the WC. </a:t>
            </a:r>
          </a:p>
          <a:p>
            <a:pPr marL="745180" lvl="1" indent="-286608">
              <a:lnSpc>
                <a:spcPct val="110000"/>
              </a:lnSpc>
              <a:buFont typeface="Arial" panose="020B0604020202020204" pitchFamily="34" charset="0"/>
              <a:buChar char="•"/>
              <a:tabLst>
                <a:tab pos="458573" algn="l"/>
              </a:tabLst>
            </a:pPr>
            <a:r>
              <a:rPr lang="en-ZA" sz="1700" dirty="0"/>
              <a:t>Due to a contraction in output in </a:t>
            </a:r>
            <a:r>
              <a:rPr lang="en-ZA" sz="1700"/>
              <a:t>the agriculture, </a:t>
            </a:r>
            <a:r>
              <a:rPr lang="en-ZA" sz="1700" dirty="0"/>
              <a:t>forestry and fisheries sector because of the drought</a:t>
            </a:r>
          </a:p>
          <a:p>
            <a:pPr marL="745180" lvl="1" indent="-286608">
              <a:lnSpc>
                <a:spcPct val="110000"/>
              </a:lnSpc>
              <a:buFont typeface="Arial" panose="020B0604020202020204" pitchFamily="34" charset="0"/>
              <a:buChar char="•"/>
              <a:tabLst>
                <a:tab pos="458573" algn="l"/>
              </a:tabLst>
            </a:pPr>
            <a:r>
              <a:rPr lang="en-ZA" sz="1300" dirty="0"/>
              <a:t>Related to this is the food and beverages manufacturing sector with a likely fall in output. </a:t>
            </a:r>
          </a:p>
          <a:p>
            <a:pPr marL="745180" lvl="1" indent="-286608">
              <a:lnSpc>
                <a:spcPct val="110000"/>
              </a:lnSpc>
              <a:buFont typeface="Arial" panose="020B0604020202020204" pitchFamily="34" charset="0"/>
              <a:buChar char="•"/>
              <a:tabLst>
                <a:tab pos="458573" algn="l"/>
              </a:tabLst>
            </a:pPr>
            <a:r>
              <a:rPr lang="en-ZA" sz="1300" dirty="0"/>
              <a:t>The poor performance of these sectors contributes greatly to the expectation of muted growth in 2018</a:t>
            </a:r>
          </a:p>
          <a:p>
            <a:pPr marL="745180" lvl="1" indent="-286608">
              <a:lnSpc>
                <a:spcPct val="110000"/>
              </a:lnSpc>
              <a:buFont typeface="Arial" panose="020B0604020202020204" pitchFamily="34" charset="0"/>
              <a:buChar char="•"/>
              <a:tabLst>
                <a:tab pos="458573" algn="l"/>
              </a:tabLst>
            </a:pPr>
            <a:r>
              <a:rPr lang="en-GB" sz="1300"/>
              <a:t>However, </a:t>
            </a:r>
            <a:r>
              <a:rPr lang="en-GB" sz="1300" dirty="0"/>
              <a:t>a rebound in </a:t>
            </a:r>
            <a:r>
              <a:rPr lang="en-GB" sz="1300"/>
              <a:t>the agriculture, </a:t>
            </a:r>
            <a:r>
              <a:rPr lang="en-GB" sz="1300" dirty="0"/>
              <a:t>forestry and fisheries and </a:t>
            </a:r>
            <a:r>
              <a:rPr lang="en-GB" sz="1300" dirty="0" err="1"/>
              <a:t>agri</a:t>
            </a:r>
            <a:r>
              <a:rPr lang="en-GB" sz="1300" dirty="0"/>
              <a:t>-processing sectors in 2019 should result in a strong uptick in growth</a:t>
            </a:r>
            <a:endParaRPr lang="en-US" sz="13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001475-3DAE-488D-AFE4-E53F22D491DC}" type="slidenum">
              <a:rPr lang="en-ZA" smtClean="0"/>
              <a:pPr/>
              <a:t>8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7365178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943" indent="-228943">
              <a:lnSpc>
                <a:spcPct val="130000"/>
              </a:lnSpc>
              <a:buBlip>
                <a:blip r:embed="rId3"/>
              </a:buBlip>
            </a:pPr>
            <a:r>
              <a:rPr lang="en-US" dirty="0"/>
              <a:t>Over the </a:t>
            </a:r>
            <a:r>
              <a:rPr lang="en-US"/>
              <a:t>last decade, </a:t>
            </a:r>
            <a:r>
              <a:rPr lang="en-US" dirty="0"/>
              <a:t>the Western Cape has outperformed South Africa in terms of economic growth due to mainly a larger services sector and smaller mining sector</a:t>
            </a:r>
          </a:p>
          <a:p>
            <a:pPr marL="228943" indent="-228943">
              <a:lnSpc>
                <a:spcPct val="130000"/>
              </a:lnSpc>
              <a:buBlip>
                <a:blip r:embed="rId3"/>
              </a:buBlip>
            </a:pPr>
            <a:r>
              <a:rPr lang="en-US" dirty="0"/>
              <a:t>Private services sector was responsible for more than three-quarters (77.8 per cent) of the growth generated by the provincial economy between 2013 and 2017.</a:t>
            </a:r>
          </a:p>
          <a:p>
            <a:pPr marL="228943" indent="-228943">
              <a:lnSpc>
                <a:spcPct val="130000"/>
              </a:lnSpc>
              <a:buBlip>
                <a:blip r:embed="rId3"/>
              </a:buBlip>
            </a:pPr>
            <a:r>
              <a:rPr lang="en-US" dirty="0"/>
              <a:t>More than one-third (35.9 per cent) of exports from the Western Cape are destined </a:t>
            </a:r>
            <a:r>
              <a:rPr lang="en-US"/>
              <a:t>for Africa, </a:t>
            </a:r>
            <a:r>
              <a:rPr lang="en-US" dirty="0"/>
              <a:t>totaling R44.7 billion. Africa is followed by Europe (29.1 per cent equal to R36.2 billion) and Asia (18.6 </a:t>
            </a:r>
            <a:r>
              <a:rPr lang="en-US"/>
              <a:t>per cent, </a:t>
            </a:r>
            <a:r>
              <a:rPr lang="en-US" dirty="0"/>
              <a:t>R23.2 billion).</a:t>
            </a:r>
          </a:p>
          <a:p>
            <a:pPr marL="228943" indent="-228943">
              <a:lnSpc>
                <a:spcPct val="130000"/>
              </a:lnSpc>
              <a:buBlip>
                <a:blip r:embed="rId3"/>
              </a:buBlip>
            </a:pPr>
            <a:r>
              <a:rPr lang="en-ZA"/>
              <a:t>Oil, </a:t>
            </a:r>
            <a:r>
              <a:rPr lang="en-ZA" dirty="0"/>
              <a:t>The sector’s direct and indirect   job     contribution in the Province declined from 11 420 in 2015 to 10 280 jobs in 2017.</a:t>
            </a:r>
            <a:endParaRPr lang="en-US" dirty="0"/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5772">
              <a:defRPr/>
            </a:pPr>
            <a:fld id="{05E2897E-B052-44CE-92A6-D4B2AB10F3F6}" type="slidenum">
              <a:rPr lang="en-ZA" sz="1800" kern="0">
                <a:solidFill>
                  <a:sysClr val="windowText" lastClr="000000"/>
                </a:solidFill>
              </a:rPr>
              <a:pPr defTabSz="915772">
                <a:defRPr/>
              </a:pPr>
              <a:t>9</a:t>
            </a:fld>
            <a:endParaRPr lang="en-ZA" sz="1800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591428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10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19589580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>
              <a:lnSpc>
                <a:spcPct val="110000"/>
              </a:lnSpc>
              <a:tabLst>
                <a:tab pos="458573" algn="l"/>
              </a:tabLst>
            </a:pPr>
            <a:r>
              <a:rPr lang="en-GB" sz="1300" dirty="0"/>
              <a:t>Labour market performance was muted over the past five years</a:t>
            </a:r>
          </a:p>
          <a:p>
            <a:pPr lvl="1">
              <a:lnSpc>
                <a:spcPct val="110000"/>
              </a:lnSpc>
              <a:tabLst>
                <a:tab pos="458573" algn="l"/>
              </a:tabLst>
            </a:pPr>
            <a:r>
              <a:rPr lang="en-GB" sz="1300" dirty="0"/>
              <a:t>Employment growth in the Agriculture and </a:t>
            </a:r>
            <a:r>
              <a:rPr lang="en-GB" sz="1300" dirty="0" err="1"/>
              <a:t>agri</a:t>
            </a:r>
            <a:r>
              <a:rPr lang="en-GB" sz="1300" dirty="0"/>
              <a:t> processing to be muted due to the drought </a:t>
            </a:r>
          </a:p>
          <a:p>
            <a:pPr lvl="1">
              <a:lnSpc>
                <a:spcPct val="110000"/>
              </a:lnSpc>
              <a:tabLst>
                <a:tab pos="458573" algn="l"/>
              </a:tabLst>
            </a:pPr>
            <a:r>
              <a:rPr lang="en-GB" sz="1300" dirty="0"/>
              <a:t>Youth faces the burden of unemployment</a:t>
            </a:r>
            <a:endParaRPr lang="en-US" sz="130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001475-3DAE-488D-AFE4-E53F22D491DC}" type="slidenum">
              <a:rPr lang="en-ZA" smtClean="0"/>
              <a:pPr/>
              <a:t>11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9849105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73188" y="1144588"/>
            <a:ext cx="4121150" cy="3092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745180" lvl="1" indent="-286608">
              <a:lnSpc>
                <a:spcPct val="110000"/>
              </a:lnSpc>
              <a:buFont typeface="Arial" panose="020B0604020202020204" pitchFamily="34" charset="0"/>
              <a:buChar char="•"/>
              <a:tabLst>
                <a:tab pos="458573" algn="l"/>
              </a:tabLst>
            </a:pPr>
            <a:r>
              <a:rPr lang="en-GB" sz="1300" dirty="0"/>
              <a:t>Labour market performance was muted over the past five years</a:t>
            </a:r>
          </a:p>
          <a:p>
            <a:pPr marL="745180" lvl="1" indent="-286608">
              <a:lnSpc>
                <a:spcPct val="110000"/>
              </a:lnSpc>
              <a:buFont typeface="Arial" panose="020B0604020202020204" pitchFamily="34" charset="0"/>
              <a:buChar char="•"/>
              <a:tabLst>
                <a:tab pos="458573" algn="l"/>
              </a:tabLst>
            </a:pPr>
            <a:r>
              <a:rPr lang="en-GB" sz="1300" dirty="0"/>
              <a:t>Employment growth in the Agriculture and </a:t>
            </a:r>
            <a:r>
              <a:rPr lang="en-GB" sz="1300" dirty="0" err="1"/>
              <a:t>agri</a:t>
            </a:r>
            <a:r>
              <a:rPr lang="en-GB" sz="1300" dirty="0"/>
              <a:t> processing to be muted due to the drought </a:t>
            </a:r>
          </a:p>
          <a:p>
            <a:pPr marL="745180" lvl="1" indent="-286608">
              <a:lnSpc>
                <a:spcPct val="110000"/>
              </a:lnSpc>
              <a:buFont typeface="Arial" panose="020B0604020202020204" pitchFamily="34" charset="0"/>
              <a:buChar char="•"/>
              <a:tabLst>
                <a:tab pos="458573" algn="l"/>
              </a:tabLst>
            </a:pPr>
            <a:r>
              <a:rPr lang="en-GB" sz="1300" dirty="0"/>
              <a:t>Youth faces the burden of unemployment</a:t>
            </a:r>
            <a:endParaRPr lang="en-US" sz="1300" dirty="0"/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7146">
              <a:defRPr/>
            </a:pPr>
            <a:fld id="{97CD83B6-4871-47F0-A8BA-CBC12105903C}" type="slidenum">
              <a:rPr lang="en-ZA" sz="1800" kern="0">
                <a:solidFill>
                  <a:sysClr val="windowText" lastClr="000000"/>
                </a:solidFill>
              </a:rPr>
              <a:pPr defTabSz="917146">
                <a:defRPr/>
              </a:pPr>
              <a:t>12</a:t>
            </a:fld>
            <a:endParaRPr lang="en-ZA" sz="1800" kern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145867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1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73.xml"/><Relationship Id="rId1" Type="http://schemas.openxmlformats.org/officeDocument/2006/relationships/tags" Target="../tags/tag172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75.xml"/><Relationship Id="rId1" Type="http://schemas.openxmlformats.org/officeDocument/2006/relationships/tags" Target="../tags/tag17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77.xml"/><Relationship Id="rId1" Type="http://schemas.openxmlformats.org/officeDocument/2006/relationships/tags" Target="../tags/tag176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79.xml"/><Relationship Id="rId1" Type="http://schemas.openxmlformats.org/officeDocument/2006/relationships/tags" Target="../tags/tag178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81.xml"/><Relationship Id="rId1" Type="http://schemas.openxmlformats.org/officeDocument/2006/relationships/tags" Target="../tags/tag180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83.xml"/><Relationship Id="rId1" Type="http://schemas.openxmlformats.org/officeDocument/2006/relationships/tags" Target="../tags/tag182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85.xml"/><Relationship Id="rId1" Type="http://schemas.openxmlformats.org/officeDocument/2006/relationships/tags" Target="../tags/tag184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87.xml"/><Relationship Id="rId1" Type="http://schemas.openxmlformats.org/officeDocument/2006/relationships/tags" Target="../tags/tag186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88.xml"/><Relationship Id="rId4" Type="http://schemas.openxmlformats.org/officeDocument/2006/relationships/image" Target="../media/image12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3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96.xml"/><Relationship Id="rId1" Type="http://schemas.openxmlformats.org/officeDocument/2006/relationships/tags" Target="../tags/tag19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98.xml"/><Relationship Id="rId1" Type="http://schemas.openxmlformats.org/officeDocument/2006/relationships/tags" Target="../tags/tag197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00.xml"/><Relationship Id="rId1" Type="http://schemas.openxmlformats.org/officeDocument/2006/relationships/tags" Target="../tags/tag199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02.xml"/><Relationship Id="rId1" Type="http://schemas.openxmlformats.org/officeDocument/2006/relationships/tags" Target="../tags/tag20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04.xml"/><Relationship Id="rId1" Type="http://schemas.openxmlformats.org/officeDocument/2006/relationships/tags" Target="../tags/tag203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06.xml"/><Relationship Id="rId1" Type="http://schemas.openxmlformats.org/officeDocument/2006/relationships/tags" Target="../tags/tag20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08.xml"/><Relationship Id="rId1" Type="http://schemas.openxmlformats.org/officeDocument/2006/relationships/tags" Target="../tags/tag207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10.xml"/><Relationship Id="rId1" Type="http://schemas.openxmlformats.org/officeDocument/2006/relationships/tags" Target="../tags/tag209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12.xml"/><Relationship Id="rId1" Type="http://schemas.openxmlformats.org/officeDocument/2006/relationships/tags" Target="../tags/tag211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14.xml"/><Relationship Id="rId1" Type="http://schemas.openxmlformats.org/officeDocument/2006/relationships/tags" Target="../tags/tag213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16.xml"/><Relationship Id="rId1" Type="http://schemas.openxmlformats.org/officeDocument/2006/relationships/tags" Target="../tags/tag215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18.xml"/><Relationship Id="rId1" Type="http://schemas.openxmlformats.org/officeDocument/2006/relationships/tags" Target="../tags/tag217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3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20.xml"/><Relationship Id="rId1" Type="http://schemas.openxmlformats.org/officeDocument/2006/relationships/tags" Target="../tags/tag21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22.xml"/><Relationship Id="rId1" Type="http://schemas.openxmlformats.org/officeDocument/2006/relationships/tags" Target="../tags/tag221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24.xml"/><Relationship Id="rId1" Type="http://schemas.openxmlformats.org/officeDocument/2006/relationships/tags" Target="../tags/tag223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26.xml"/><Relationship Id="rId1" Type="http://schemas.openxmlformats.org/officeDocument/2006/relationships/tags" Target="../tags/tag22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28.xml"/><Relationship Id="rId1" Type="http://schemas.openxmlformats.org/officeDocument/2006/relationships/tags" Target="../tags/tag227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30.xml"/><Relationship Id="rId1" Type="http://schemas.openxmlformats.org/officeDocument/2006/relationships/tags" Target="../tags/tag229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32.xml"/><Relationship Id="rId1" Type="http://schemas.openxmlformats.org/officeDocument/2006/relationships/tags" Target="../tags/tag231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34.xml"/><Relationship Id="rId1" Type="http://schemas.openxmlformats.org/officeDocument/2006/relationships/tags" Target="../tags/tag23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235.xml"/><Relationship Id="rId4" Type="http://schemas.openxmlformats.org/officeDocument/2006/relationships/image" Target="../media/image15.png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4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43.xml"/><Relationship Id="rId1" Type="http://schemas.openxmlformats.org/officeDocument/2006/relationships/tags" Target="../tags/tag242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45.xml"/><Relationship Id="rId1" Type="http://schemas.openxmlformats.org/officeDocument/2006/relationships/tags" Target="../tags/tag244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47.xml"/><Relationship Id="rId1" Type="http://schemas.openxmlformats.org/officeDocument/2006/relationships/tags" Target="../tags/tag246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49.xml"/><Relationship Id="rId1" Type="http://schemas.openxmlformats.org/officeDocument/2006/relationships/tags" Target="../tags/tag248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51.xml"/><Relationship Id="rId1" Type="http://schemas.openxmlformats.org/officeDocument/2006/relationships/tags" Target="../tags/tag250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53.xml"/><Relationship Id="rId1" Type="http://schemas.openxmlformats.org/officeDocument/2006/relationships/tags" Target="../tags/tag252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55.xml"/><Relationship Id="rId1" Type="http://schemas.openxmlformats.org/officeDocument/2006/relationships/tags" Target="../tags/tag254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57.xml"/><Relationship Id="rId1" Type="http://schemas.openxmlformats.org/officeDocument/2006/relationships/tags" Target="../tags/tag256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59.xml"/><Relationship Id="rId1" Type="http://schemas.openxmlformats.org/officeDocument/2006/relationships/tags" Target="../tags/tag25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61.xml"/><Relationship Id="rId1" Type="http://schemas.openxmlformats.org/officeDocument/2006/relationships/tags" Target="../tags/tag260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63.xml"/><Relationship Id="rId1" Type="http://schemas.openxmlformats.org/officeDocument/2006/relationships/tags" Target="../tags/tag262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65.xml"/><Relationship Id="rId1" Type="http://schemas.openxmlformats.org/officeDocument/2006/relationships/tags" Target="../tags/tag264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67.xml"/><Relationship Id="rId1" Type="http://schemas.openxmlformats.org/officeDocument/2006/relationships/tags" Target="../tags/tag266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69.xml"/><Relationship Id="rId1" Type="http://schemas.openxmlformats.org/officeDocument/2006/relationships/tags" Target="../tags/tag268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71.xml"/><Relationship Id="rId1" Type="http://schemas.openxmlformats.org/officeDocument/2006/relationships/tags" Target="../tags/tag270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73.xml"/><Relationship Id="rId1" Type="http://schemas.openxmlformats.org/officeDocument/2006/relationships/tags" Target="../tags/tag272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75.xml"/><Relationship Id="rId1" Type="http://schemas.openxmlformats.org/officeDocument/2006/relationships/tags" Target="../tags/tag274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77.xml"/><Relationship Id="rId1" Type="http://schemas.openxmlformats.org/officeDocument/2006/relationships/tags" Target="../tags/tag27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79.xml"/><Relationship Id="rId1" Type="http://schemas.openxmlformats.org/officeDocument/2006/relationships/tags" Target="../tags/tag278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81.xml"/><Relationship Id="rId1" Type="http://schemas.openxmlformats.org/officeDocument/2006/relationships/tags" Target="../tags/tag280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282.xml"/><Relationship Id="rId4" Type="http://schemas.openxmlformats.org/officeDocument/2006/relationships/image" Target="../media/image15.png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290.xml"/><Relationship Id="rId1" Type="http://schemas.openxmlformats.org/officeDocument/2006/relationships/tags" Target="../tags/tag289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292.xml"/><Relationship Id="rId1" Type="http://schemas.openxmlformats.org/officeDocument/2006/relationships/tags" Target="../tags/tag291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294.xml"/><Relationship Id="rId1" Type="http://schemas.openxmlformats.org/officeDocument/2006/relationships/tags" Target="../tags/tag293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296.xml"/><Relationship Id="rId1" Type="http://schemas.openxmlformats.org/officeDocument/2006/relationships/tags" Target="../tags/tag29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298.xml"/><Relationship Id="rId1" Type="http://schemas.openxmlformats.org/officeDocument/2006/relationships/tags" Target="../tags/tag297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00.xml"/><Relationship Id="rId1" Type="http://schemas.openxmlformats.org/officeDocument/2006/relationships/tags" Target="../tags/tag299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02.xml"/><Relationship Id="rId1" Type="http://schemas.openxmlformats.org/officeDocument/2006/relationships/tags" Target="../tags/tag301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04.xml"/><Relationship Id="rId1" Type="http://schemas.openxmlformats.org/officeDocument/2006/relationships/tags" Target="../tags/tag303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06.xml"/><Relationship Id="rId1" Type="http://schemas.openxmlformats.org/officeDocument/2006/relationships/tags" Target="../tags/tag305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08.xml"/><Relationship Id="rId1" Type="http://schemas.openxmlformats.org/officeDocument/2006/relationships/tags" Target="../tags/tag307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10.xml"/><Relationship Id="rId1" Type="http://schemas.openxmlformats.org/officeDocument/2006/relationships/tags" Target="../tags/tag309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12.xml"/><Relationship Id="rId1" Type="http://schemas.openxmlformats.org/officeDocument/2006/relationships/tags" Target="../tags/tag311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14.xml"/><Relationship Id="rId1" Type="http://schemas.openxmlformats.org/officeDocument/2006/relationships/tags" Target="../tags/tag31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16.xml"/><Relationship Id="rId1" Type="http://schemas.openxmlformats.org/officeDocument/2006/relationships/tags" Target="../tags/tag315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18.xml"/><Relationship Id="rId1" Type="http://schemas.openxmlformats.org/officeDocument/2006/relationships/tags" Target="../tags/tag317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20.xml"/><Relationship Id="rId1" Type="http://schemas.openxmlformats.org/officeDocument/2006/relationships/tags" Target="../tags/tag319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22.xml"/><Relationship Id="rId1" Type="http://schemas.openxmlformats.org/officeDocument/2006/relationships/tags" Target="../tags/tag321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24.xml"/><Relationship Id="rId1" Type="http://schemas.openxmlformats.org/officeDocument/2006/relationships/tags" Target="../tags/tag323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26.xml"/><Relationship Id="rId1" Type="http://schemas.openxmlformats.org/officeDocument/2006/relationships/tags" Target="../tags/tag325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28.xml"/><Relationship Id="rId1" Type="http://schemas.openxmlformats.org/officeDocument/2006/relationships/tags" Target="../tags/tag327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329.xml"/><Relationship Id="rId4" Type="http://schemas.openxmlformats.org/officeDocument/2006/relationships/image" Target="../media/image15.png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5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6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37.xml"/><Relationship Id="rId1" Type="http://schemas.openxmlformats.org/officeDocument/2006/relationships/tags" Target="../tags/tag336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39.xml"/><Relationship Id="rId1" Type="http://schemas.openxmlformats.org/officeDocument/2006/relationships/tags" Target="../tags/tag338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1.xml"/><Relationship Id="rId1" Type="http://schemas.openxmlformats.org/officeDocument/2006/relationships/tags" Target="../tags/tag340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3.xml"/><Relationship Id="rId1" Type="http://schemas.openxmlformats.org/officeDocument/2006/relationships/tags" Target="../tags/tag342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5.xml"/><Relationship Id="rId1" Type="http://schemas.openxmlformats.org/officeDocument/2006/relationships/tags" Target="../tags/tag344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7.xml"/><Relationship Id="rId1" Type="http://schemas.openxmlformats.org/officeDocument/2006/relationships/tags" Target="../tags/tag346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49.xml"/><Relationship Id="rId1" Type="http://schemas.openxmlformats.org/officeDocument/2006/relationships/tags" Target="../tags/tag348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51.xml"/><Relationship Id="rId1" Type="http://schemas.openxmlformats.org/officeDocument/2006/relationships/tags" Target="../tags/tag350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53.xml"/><Relationship Id="rId1" Type="http://schemas.openxmlformats.org/officeDocument/2006/relationships/tags" Target="../tags/tag35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55.xml"/><Relationship Id="rId1" Type="http://schemas.openxmlformats.org/officeDocument/2006/relationships/tags" Target="../tags/tag354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57.xml"/><Relationship Id="rId1" Type="http://schemas.openxmlformats.org/officeDocument/2006/relationships/tags" Target="../tags/tag356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59.xml"/><Relationship Id="rId1" Type="http://schemas.openxmlformats.org/officeDocument/2006/relationships/tags" Target="../tags/tag358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6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61.xml"/><Relationship Id="rId1" Type="http://schemas.openxmlformats.org/officeDocument/2006/relationships/tags" Target="../tags/tag360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63.xml"/><Relationship Id="rId1" Type="http://schemas.openxmlformats.org/officeDocument/2006/relationships/tags" Target="../tags/tag362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65.xml"/><Relationship Id="rId1" Type="http://schemas.openxmlformats.org/officeDocument/2006/relationships/tags" Target="../tags/tag364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67.xml"/><Relationship Id="rId1" Type="http://schemas.openxmlformats.org/officeDocument/2006/relationships/tags" Target="../tags/tag366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69.xml"/><Relationship Id="rId1" Type="http://schemas.openxmlformats.org/officeDocument/2006/relationships/tags" Target="../tags/tag368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71.xml"/><Relationship Id="rId1" Type="http://schemas.openxmlformats.org/officeDocument/2006/relationships/tags" Target="../tags/tag370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73.xml"/><Relationship Id="rId1" Type="http://schemas.openxmlformats.org/officeDocument/2006/relationships/tags" Target="../tags/tag372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75.xml"/><Relationship Id="rId1" Type="http://schemas.openxmlformats.org/officeDocument/2006/relationships/tags" Target="../tags/tag374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376.xml"/><Relationship Id="rId4" Type="http://schemas.openxmlformats.org/officeDocument/2006/relationships/image" Target="../media/image15.png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6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7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84.xml"/><Relationship Id="rId1" Type="http://schemas.openxmlformats.org/officeDocument/2006/relationships/tags" Target="../tags/tag383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86.xml"/><Relationship Id="rId1" Type="http://schemas.openxmlformats.org/officeDocument/2006/relationships/tags" Target="../tags/tag385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88.xml"/><Relationship Id="rId1" Type="http://schemas.openxmlformats.org/officeDocument/2006/relationships/tags" Target="../tags/tag387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90.xml"/><Relationship Id="rId1" Type="http://schemas.openxmlformats.org/officeDocument/2006/relationships/tags" Target="../tags/tag389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92.xml"/><Relationship Id="rId1" Type="http://schemas.openxmlformats.org/officeDocument/2006/relationships/tags" Target="../tags/tag39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94.xml"/><Relationship Id="rId1" Type="http://schemas.openxmlformats.org/officeDocument/2006/relationships/tags" Target="../tags/tag393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96.xml"/><Relationship Id="rId1" Type="http://schemas.openxmlformats.org/officeDocument/2006/relationships/tags" Target="../tags/tag395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98.xml"/><Relationship Id="rId1" Type="http://schemas.openxmlformats.org/officeDocument/2006/relationships/tags" Target="../tags/tag397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00.xml"/><Relationship Id="rId1" Type="http://schemas.openxmlformats.org/officeDocument/2006/relationships/tags" Target="../tags/tag399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02.xml"/><Relationship Id="rId1" Type="http://schemas.openxmlformats.org/officeDocument/2006/relationships/tags" Target="../tags/tag401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04.xml"/><Relationship Id="rId1" Type="http://schemas.openxmlformats.org/officeDocument/2006/relationships/tags" Target="../tags/tag403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06.xml"/><Relationship Id="rId1" Type="http://schemas.openxmlformats.org/officeDocument/2006/relationships/tags" Target="../tags/tag405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7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08.xml"/><Relationship Id="rId1" Type="http://schemas.openxmlformats.org/officeDocument/2006/relationships/tags" Target="../tags/tag407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10.xml"/><Relationship Id="rId1" Type="http://schemas.openxmlformats.org/officeDocument/2006/relationships/tags" Target="../tags/tag409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12.xml"/><Relationship Id="rId1" Type="http://schemas.openxmlformats.org/officeDocument/2006/relationships/tags" Target="../tags/tag411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14.xml"/><Relationship Id="rId1" Type="http://schemas.openxmlformats.org/officeDocument/2006/relationships/tags" Target="../tags/tag413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16.xml"/><Relationship Id="rId1" Type="http://schemas.openxmlformats.org/officeDocument/2006/relationships/tags" Target="../tags/tag415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18.xml"/><Relationship Id="rId1" Type="http://schemas.openxmlformats.org/officeDocument/2006/relationships/tags" Target="../tags/tag417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20.xml"/><Relationship Id="rId1" Type="http://schemas.openxmlformats.org/officeDocument/2006/relationships/tags" Target="../tags/tag419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22.xml"/><Relationship Id="rId1" Type="http://schemas.openxmlformats.org/officeDocument/2006/relationships/tags" Target="../tags/tag421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7.xml"/><Relationship Id="rId1" Type="http://schemas.openxmlformats.org/officeDocument/2006/relationships/tags" Target="../tags/tag423.xml"/><Relationship Id="rId4" Type="http://schemas.openxmlformats.org/officeDocument/2006/relationships/image" Target="../media/image15.png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7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7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7.xml"/><Relationship Id="rId4" Type="http://schemas.openxmlformats.org/officeDocument/2006/relationships/image" Target="../media/image12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5.xml"/><Relationship Id="rId1" Type="http://schemas.openxmlformats.org/officeDocument/2006/relationships/tags" Target="../tags/tag5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7.xml"/><Relationship Id="rId1" Type="http://schemas.openxmlformats.org/officeDocument/2006/relationships/tags" Target="../tags/tag56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59.xml"/><Relationship Id="rId1" Type="http://schemas.openxmlformats.org/officeDocument/2006/relationships/tags" Target="../tags/tag58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1.xml"/><Relationship Id="rId1" Type="http://schemas.openxmlformats.org/officeDocument/2006/relationships/tags" Target="../tags/tag60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3.xml"/><Relationship Id="rId1" Type="http://schemas.openxmlformats.org/officeDocument/2006/relationships/tags" Target="../tags/tag6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5.xml"/><Relationship Id="rId1" Type="http://schemas.openxmlformats.org/officeDocument/2006/relationships/tags" Target="../tags/tag6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7.xml"/><Relationship Id="rId1" Type="http://schemas.openxmlformats.org/officeDocument/2006/relationships/tags" Target="../tags/tag6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73.xml"/><Relationship Id="rId1" Type="http://schemas.openxmlformats.org/officeDocument/2006/relationships/tags" Target="../tags/tag7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75.xml"/><Relationship Id="rId1" Type="http://schemas.openxmlformats.org/officeDocument/2006/relationships/tags" Target="../tags/tag7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77.xml"/><Relationship Id="rId1" Type="http://schemas.openxmlformats.org/officeDocument/2006/relationships/tags" Target="../tags/tag7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9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79.xml"/><Relationship Id="rId1" Type="http://schemas.openxmlformats.org/officeDocument/2006/relationships/tags" Target="../tags/tag78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81.xml"/><Relationship Id="rId1" Type="http://schemas.openxmlformats.org/officeDocument/2006/relationships/tags" Target="../tags/tag80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83.xml"/><Relationship Id="rId1" Type="http://schemas.openxmlformats.org/officeDocument/2006/relationships/tags" Target="../tags/tag8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85.xml"/><Relationship Id="rId1" Type="http://schemas.openxmlformats.org/officeDocument/2006/relationships/tags" Target="../tags/tag8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87.xml"/><Relationship Id="rId1" Type="http://schemas.openxmlformats.org/officeDocument/2006/relationships/tags" Target="../tags/tag8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89.xml"/><Relationship Id="rId1" Type="http://schemas.openxmlformats.org/officeDocument/2006/relationships/tags" Target="../tags/tag88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91.xml"/><Relationship Id="rId1" Type="http://schemas.openxmlformats.org/officeDocument/2006/relationships/tags" Target="../tags/tag90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93.xml"/><Relationship Id="rId1" Type="http://schemas.openxmlformats.org/officeDocument/2006/relationships/tags" Target="../tags/tag9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94.xml"/><Relationship Id="rId4" Type="http://schemas.openxmlformats.org/officeDocument/2006/relationships/image" Target="../media/image12.png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0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02.xml"/><Relationship Id="rId1" Type="http://schemas.openxmlformats.org/officeDocument/2006/relationships/tags" Target="../tags/tag10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04.xml"/><Relationship Id="rId1" Type="http://schemas.openxmlformats.org/officeDocument/2006/relationships/tags" Target="../tags/tag10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06.xml"/><Relationship Id="rId1" Type="http://schemas.openxmlformats.org/officeDocument/2006/relationships/tags" Target="../tags/tag10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08.xml"/><Relationship Id="rId1" Type="http://schemas.openxmlformats.org/officeDocument/2006/relationships/tags" Target="../tags/tag10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10.xml"/><Relationship Id="rId1" Type="http://schemas.openxmlformats.org/officeDocument/2006/relationships/tags" Target="../tags/tag109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12.xml"/><Relationship Id="rId1" Type="http://schemas.openxmlformats.org/officeDocument/2006/relationships/tags" Target="../tags/tag11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14.xml"/><Relationship Id="rId1" Type="http://schemas.openxmlformats.org/officeDocument/2006/relationships/tags" Target="../tags/tag11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16.xml"/><Relationship Id="rId1" Type="http://schemas.openxmlformats.org/officeDocument/2006/relationships/tags" Target="../tags/tag11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18.xml"/><Relationship Id="rId1" Type="http://schemas.openxmlformats.org/officeDocument/2006/relationships/tags" Target="../tags/tag11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20.xml"/><Relationship Id="rId1" Type="http://schemas.openxmlformats.org/officeDocument/2006/relationships/tags" Target="../tags/tag119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22.xml"/><Relationship Id="rId1" Type="http://schemas.openxmlformats.org/officeDocument/2006/relationships/tags" Target="../tags/tag12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24.xml"/><Relationship Id="rId1" Type="http://schemas.openxmlformats.org/officeDocument/2006/relationships/tags" Target="../tags/tag12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26.xml"/><Relationship Id="rId1" Type="http://schemas.openxmlformats.org/officeDocument/2006/relationships/tags" Target="../tags/tag12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28.xml"/><Relationship Id="rId1" Type="http://schemas.openxmlformats.org/officeDocument/2006/relationships/tags" Target="../tags/tag12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30.xml"/><Relationship Id="rId1" Type="http://schemas.openxmlformats.org/officeDocument/2006/relationships/tags" Target="../tags/tag12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32.xml"/><Relationship Id="rId1" Type="http://schemas.openxmlformats.org/officeDocument/2006/relationships/tags" Target="../tags/tag131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34.xml"/><Relationship Id="rId1" Type="http://schemas.openxmlformats.org/officeDocument/2006/relationships/tags" Target="../tags/tag13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36.xml"/><Relationship Id="rId1" Type="http://schemas.openxmlformats.org/officeDocument/2006/relationships/tags" Target="../tags/tag13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38.xml"/><Relationship Id="rId1" Type="http://schemas.openxmlformats.org/officeDocument/2006/relationships/tags" Target="../tags/tag13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40.xml"/><Relationship Id="rId1" Type="http://schemas.openxmlformats.org/officeDocument/2006/relationships/tags" Target="../tags/tag139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41.xml"/><Relationship Id="rId4" Type="http://schemas.openxmlformats.org/officeDocument/2006/relationships/image" Target="../media/image15.png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0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1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49.xml"/><Relationship Id="rId1" Type="http://schemas.openxmlformats.org/officeDocument/2006/relationships/tags" Target="../tags/tag14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51.xml"/><Relationship Id="rId1" Type="http://schemas.openxmlformats.org/officeDocument/2006/relationships/tags" Target="../tags/tag15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53.xml"/><Relationship Id="rId1" Type="http://schemas.openxmlformats.org/officeDocument/2006/relationships/tags" Target="../tags/tag15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55.xml"/><Relationship Id="rId1" Type="http://schemas.openxmlformats.org/officeDocument/2006/relationships/tags" Target="../tags/tag15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57.xml"/><Relationship Id="rId1" Type="http://schemas.openxmlformats.org/officeDocument/2006/relationships/tags" Target="../tags/tag156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59.xml"/><Relationship Id="rId1" Type="http://schemas.openxmlformats.org/officeDocument/2006/relationships/tags" Target="../tags/tag158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61.xml"/><Relationship Id="rId1" Type="http://schemas.openxmlformats.org/officeDocument/2006/relationships/tags" Target="../tags/tag160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63.xml"/><Relationship Id="rId1" Type="http://schemas.openxmlformats.org/officeDocument/2006/relationships/tags" Target="../tags/tag16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65.xml"/><Relationship Id="rId1" Type="http://schemas.openxmlformats.org/officeDocument/2006/relationships/tags" Target="../tags/tag16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67.xml"/><Relationship Id="rId1" Type="http://schemas.openxmlformats.org/officeDocument/2006/relationships/tags" Target="../tags/tag166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69.xml"/><Relationship Id="rId1" Type="http://schemas.openxmlformats.org/officeDocument/2006/relationships/tags" Target="../tags/tag168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71.xml"/><Relationship Id="rId1" Type="http://schemas.openxmlformats.org/officeDocument/2006/relationships/tags" Target="../tags/tag17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486026" y="2371725"/>
            <a:ext cx="6008688" cy="20383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New section heading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4175201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4572509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56923571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3105304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45426435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64463294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86377752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46826949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5666664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559793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6786122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35026" y="1734838"/>
            <a:ext cx="2842836" cy="1082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</p:spTree>
    <p:extLst>
      <p:ext uri="{BB962C8B-B14F-4D97-AF65-F5344CB8AC3E}">
        <p14:creationId xmlns:p14="http://schemas.microsoft.com/office/powerpoint/2010/main" xmlns="" val="4996826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98041247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0095261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486026" y="2371725"/>
            <a:ext cx="6008688" cy="20383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New section heading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07259686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429" y="0"/>
            <a:ext cx="914257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5275" y="180976"/>
            <a:ext cx="8505825" cy="8763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Headin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5275" y="1266825"/>
            <a:ext cx="8505825" cy="45243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Century Gothic" pitchFamily="34" charset="0"/>
              </a:defRPr>
            </a:lvl1pPr>
            <a:lvl2pPr marL="180975" indent="-180975" algn="l"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Century Gothic" pitchFamily="34" charset="0"/>
              </a:defRPr>
            </a:lvl2pPr>
            <a:lvl3pPr marL="9144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-heading</a:t>
            </a:r>
          </a:p>
          <a:p>
            <a:pPr lvl="1"/>
            <a:r>
              <a:rPr lang="en-US" dirty="0"/>
              <a:t>text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7272997" y="6133514"/>
            <a:ext cx="15281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4DBE7DE7-0ED3-44BB-95DC-3E64CC94D9A5}" type="slidenum">
              <a:rPr lang="en-ZA" sz="1400" smtClean="0">
                <a:solidFill>
                  <a:prstClr val="black"/>
                </a:solidFill>
              </a:rPr>
              <a:pPr algn="r"/>
              <a:t>‹#›</a:t>
            </a:fld>
            <a:endParaRPr lang="en-ZA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4264930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2018 PERO &amp; MERO Budget Committee Presentation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20FAD7D-7372-4125-8AE7-ED5BB03B56F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9146531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333375"/>
            <a:ext cx="6988175" cy="13684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719989846"/>
      </p:ext>
    </p:extLst>
  </p:cSld>
  <p:clrMapOvr>
    <a:masterClrMapping/>
  </p:clrMapOvr>
  <p:transition>
    <p:pull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88043027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4574070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50832763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0617078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442228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0538936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05319371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1734317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70709424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66019267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199637019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1834297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58601459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5645560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05130443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01392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4359424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92577089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2030169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0543939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5294578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1486099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213234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3220193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53955565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50449144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5" y="0"/>
            <a:ext cx="914257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5276" y="180976"/>
            <a:ext cx="8505825" cy="8763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100" b="1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Headin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5276" y="1266827"/>
            <a:ext cx="8505825" cy="45243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350">
                <a:solidFill>
                  <a:schemeClr val="tx1"/>
                </a:solidFill>
                <a:latin typeface="Century Gothic" pitchFamily="34" charset="0"/>
              </a:defRPr>
            </a:lvl1pPr>
            <a:lvl2pPr marL="135731" indent="-135731" algn="l"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Century Gothic" pitchFamily="34" charset="0"/>
              </a:defRPr>
            </a:lvl2pPr>
            <a:lvl3pPr marL="685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-heading</a:t>
            </a:r>
          </a:p>
          <a:p>
            <a:pPr lvl="1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xmlns="" val="25887144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35908827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54599734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1956910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1353654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0211426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96630463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81380340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347359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57765193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99937373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31111996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45750694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6116765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62351390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86727305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38067558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2783826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1650172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4866077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9227964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3556507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7486398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128943631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49327325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1907882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99815328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0513995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" y="0"/>
            <a:ext cx="914257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5275" y="180976"/>
            <a:ext cx="8505825" cy="8763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Headin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5275" y="1266825"/>
            <a:ext cx="8505825" cy="45243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Century Gothic" pitchFamily="34" charset="0"/>
              </a:defRPr>
            </a:lvl1pPr>
            <a:lvl2pPr marL="180975" indent="-180975" algn="l"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Century Gothic" pitchFamily="34" charset="0"/>
              </a:defRPr>
            </a:lvl2pPr>
            <a:lvl3pPr marL="9144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-heading</a:t>
            </a:r>
          </a:p>
          <a:p>
            <a:pPr lvl="1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xmlns="" val="377481920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9744795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89383070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7829510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7773086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5379853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222047824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33473553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50552694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37847959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32710026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1468225502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0017047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074667133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27795742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40902629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4208192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735416296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25220973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67652675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7271701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1167877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7960818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1649406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692147516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098835176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43494935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5" y="0"/>
            <a:ext cx="914257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5276" y="180976"/>
            <a:ext cx="8505825" cy="8763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100" b="1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Headin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5276" y="1266827"/>
            <a:ext cx="8505825" cy="45243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350">
                <a:solidFill>
                  <a:schemeClr val="tx1"/>
                </a:solidFill>
                <a:latin typeface="Century Gothic" pitchFamily="34" charset="0"/>
              </a:defRPr>
            </a:lvl1pPr>
            <a:lvl2pPr marL="135731" indent="-135731" algn="l"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Century Gothic" pitchFamily="34" charset="0"/>
              </a:defRPr>
            </a:lvl2pPr>
            <a:lvl3pPr marL="685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-heading</a:t>
            </a:r>
          </a:p>
          <a:p>
            <a:pPr lvl="1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xmlns="" val="24345181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2138201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84738519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213761522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734282128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3477620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59395803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29785082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88544569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36651478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635908322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40065901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2018 PERO &amp; MERO Budget Committee Presentation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20FAD7D-7372-4125-8AE7-ED5BB03B56F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1722865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64982048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9331449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88194461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84917512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634711692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01975331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44473631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7155953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26637174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96775625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092321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09454988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212365868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512573627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912944385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01196703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1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225"/>
              </a:spcBef>
              <a:defRPr sz="195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7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25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7"/>
            <a:ext cx="1584176" cy="365125"/>
          </a:xfrm>
        </p:spPr>
        <p:txBody>
          <a:bodyPr>
            <a:normAutofit/>
          </a:bodyPr>
          <a:lstStyle>
            <a:lvl1pPr algn="r">
              <a:defRPr sz="825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7"/>
            <a:ext cx="1944216" cy="365125"/>
          </a:xfrm>
        </p:spPr>
        <p:txBody>
          <a:bodyPr>
            <a:normAutofit/>
          </a:bodyPr>
          <a:lstStyle>
            <a:lvl1pPr algn="r">
              <a:defRPr sz="825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814760510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7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4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229016191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7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4"/>
            <a:ext cx="4060701" cy="4896073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80" y="1196754"/>
            <a:ext cx="4060701" cy="4896073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950928129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7 PERO &amp; MERO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6899945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7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412778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5029469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7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8"/>
            <a:ext cx="4060701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80" y="1412778"/>
            <a:ext cx="4060701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0669091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215746033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7 PERO &amp; MERO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09189405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7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6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530061913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7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6" y="1196752"/>
            <a:ext cx="4060701" cy="448707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80" y="1196752"/>
            <a:ext cx="4060701" cy="448707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772841791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7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829006877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7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4434857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7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8"/>
            <a:ext cx="4060701" cy="4281441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80" y="1412778"/>
            <a:ext cx="4060701" cy="4281441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39546874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7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8630064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9" y="2276874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2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80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230817616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7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1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8"/>
            <a:ext cx="5472608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490702571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7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7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1" y="1412777"/>
            <a:ext cx="6004917" cy="4680048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2576342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897364595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7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1" y="3532181"/>
            <a:ext cx="8597205" cy="2551450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34305614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7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1" y="1412776"/>
            <a:ext cx="8597205" cy="214322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52712818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7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8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8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1412776"/>
            <a:ext cx="8597205" cy="214322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29199411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7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8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8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3703287"/>
            <a:ext cx="8597205" cy="238034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710888206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7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1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1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1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211424355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7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3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3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3" y="4540291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1412779"/>
            <a:ext cx="5553983" cy="466590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835194810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/>
              <a:endParaRPr lang="en-GB" sz="1350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8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8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8" y="3497483"/>
            <a:ext cx="402674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 defTabSz="685800"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2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7" y="3497483"/>
            <a:ext cx="402674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 defTabSz="685800"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8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7" y="4043102"/>
            <a:ext cx="3734059" cy="261610"/>
          </a:xfrm>
          <a:prstGeom prst="rect">
            <a:avLst/>
          </a:prstGeom>
        </p:spPr>
        <p:txBody>
          <a:bodyPr vert="horz" lIns="27000" tIns="54000" rIns="27000" bIns="54000" rtlCol="0" anchor="ctr">
            <a:noAutofit/>
          </a:bodyPr>
          <a:lstStyle/>
          <a:p>
            <a:pPr defTabSz="685800">
              <a:spcBef>
                <a:spcPts val="225"/>
              </a:spcBef>
              <a:buFont typeface="Arial" pitchFamily="34" charset="0"/>
              <a:buNone/>
            </a:pPr>
            <a:r>
              <a:rPr lang="en-GB" sz="825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6" y="565703"/>
            <a:ext cx="184858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85800"/>
            <a:r>
              <a:rPr lang="en-US" sz="2400" dirty="0">
                <a:solidFill>
                  <a:prstClr val="white"/>
                </a:solidFill>
              </a:rPr>
              <a:t>Contact Us</a:t>
            </a:r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7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825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86795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660178268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9" y="3861050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1800"/>
              </a:spcAft>
            </a:pPr>
            <a:r>
              <a:rPr lang="en-US" sz="24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2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99884521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5" y="0"/>
            <a:ext cx="914257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5276" y="180976"/>
            <a:ext cx="8505825" cy="8763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100" b="1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Headin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5276" y="1266827"/>
            <a:ext cx="8505825" cy="45243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350">
                <a:solidFill>
                  <a:schemeClr val="tx1"/>
                </a:solidFill>
                <a:latin typeface="Century Gothic" pitchFamily="34" charset="0"/>
              </a:defRPr>
            </a:lvl1pPr>
            <a:lvl2pPr marL="135731" indent="-135731" algn="l">
              <a:buFont typeface="Arial" pitchFamily="34" charset="0"/>
              <a:buChar char="•"/>
              <a:defRPr sz="1050">
                <a:solidFill>
                  <a:schemeClr val="tx1"/>
                </a:solidFill>
                <a:latin typeface="Century Gothic" pitchFamily="34" charset="0"/>
              </a:defRPr>
            </a:lvl2pPr>
            <a:lvl3pPr marL="685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-heading</a:t>
            </a:r>
          </a:p>
          <a:p>
            <a:pPr lvl="1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xmlns="" val="22705426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876098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32968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293021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108714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330095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35026" y="1734838"/>
            <a:ext cx="2842836" cy="1082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</p:spTree>
    <p:extLst>
      <p:ext uri="{BB962C8B-B14F-4D97-AF65-F5344CB8AC3E}">
        <p14:creationId xmlns:p14="http://schemas.microsoft.com/office/powerpoint/2010/main" xmlns="" val="35821782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2018 PERO &amp; MERO Budget Committee Presentation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20FAD7D-7372-4125-8AE7-ED5BB03B56F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76519078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3659874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1520" y="6309320"/>
            <a:ext cx="2895600" cy="365125"/>
          </a:xfrm>
        </p:spPr>
        <p:txBody>
          <a:bodyPr/>
          <a:lstStyle/>
          <a:p>
            <a:r>
              <a:rPr lang="en-US"/>
              <a:t>2018 PERO &amp; MERO Budget Committee Presentation </a:t>
            </a:r>
            <a:endParaRPr lang="en-ZA" dirty="0"/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323850" y="1412875"/>
            <a:ext cx="8496300" cy="44640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chart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3559532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486026" y="2371725"/>
            <a:ext cx="6008688" cy="20383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New section heading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7923120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71462211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  <a:prstGeom prst="rect">
            <a:avLst/>
          </a:prstGeo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  <a:prstGeom prst="rect">
            <a:avLst/>
          </a:prstGeo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  <a:prstGeom prst="rect">
            <a:avLst/>
          </a:prstGeo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26773979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486026" y="2371725"/>
            <a:ext cx="6008688" cy="20383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New section heading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25515971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486026" y="2371725"/>
            <a:ext cx="6008688" cy="20383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New section heading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36322900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2018 PERO &amp; MERO Budget Committee Presentation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20FAD7D-7372-4125-8AE7-ED5BB03B56F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1687523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2018 PERO &amp; MERO Budget Committee Presentation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20FAD7D-7372-4125-8AE7-ED5BB03B56F5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7494970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41465866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407276361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46145811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25898320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4885979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07112386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99267042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5734297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9065600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2917301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425884590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8879542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486026" y="2371725"/>
            <a:ext cx="6008688" cy="20383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New section heading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56718862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04079975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4293987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993460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391848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1376499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3680454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69963416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1688651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9762738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392435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67954995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85378378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35026" y="1734838"/>
            <a:ext cx="2842836" cy="1082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</p:spTree>
    <p:extLst>
      <p:ext uri="{BB962C8B-B14F-4D97-AF65-F5344CB8AC3E}">
        <p14:creationId xmlns:p14="http://schemas.microsoft.com/office/powerpoint/2010/main" xmlns="" val="315607202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36538965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56482191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9799894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95900257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5976115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18442473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18249479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576953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420729451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4618461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07418766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416180160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6941169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3533601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4537272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16777050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1595485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5795905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512746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64733161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7896819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98428227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1490985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1475565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0769956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68971051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03425483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404886755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81060452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5990145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9524815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886328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6418708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89465089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4350940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1683939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70616763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315234027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5129450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86322223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542622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5.xml"/><Relationship Id="rId18" Type="http://schemas.openxmlformats.org/officeDocument/2006/relationships/slideLayout" Target="../slideLayouts/slideLayout80.xml"/><Relationship Id="rId26" Type="http://schemas.openxmlformats.org/officeDocument/2006/relationships/vmlDrawing" Target="../drawings/vmlDrawing3.vml"/><Relationship Id="rId3" Type="http://schemas.openxmlformats.org/officeDocument/2006/relationships/slideLayout" Target="../slideLayouts/slideLayout65.xml"/><Relationship Id="rId21" Type="http://schemas.openxmlformats.org/officeDocument/2006/relationships/slideLayout" Target="../slideLayouts/slideLayout83.xml"/><Relationship Id="rId34" Type="http://schemas.openxmlformats.org/officeDocument/2006/relationships/image" Target="../media/image5.jpeg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9.xml"/><Relationship Id="rId25" Type="http://schemas.openxmlformats.org/officeDocument/2006/relationships/theme" Target="../theme/theme10.xml"/><Relationship Id="rId33" Type="http://schemas.openxmlformats.org/officeDocument/2006/relationships/oleObject" Target="../embeddings/oleObject3.bin"/><Relationship Id="rId2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82.xml"/><Relationship Id="rId29" Type="http://schemas.openxmlformats.org/officeDocument/2006/relationships/tags" Target="../tags/tag97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24" Type="http://schemas.openxmlformats.org/officeDocument/2006/relationships/slideLayout" Target="../slideLayouts/slideLayout86.xml"/><Relationship Id="rId32" Type="http://schemas.openxmlformats.org/officeDocument/2006/relationships/tags" Target="../tags/tag100.xml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23" Type="http://schemas.openxmlformats.org/officeDocument/2006/relationships/slideLayout" Target="../slideLayouts/slideLayout85.xml"/><Relationship Id="rId28" Type="http://schemas.openxmlformats.org/officeDocument/2006/relationships/tags" Target="../tags/tag96.xml"/><Relationship Id="rId36" Type="http://schemas.openxmlformats.org/officeDocument/2006/relationships/image" Target="../media/image7.png"/><Relationship Id="rId10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81.xml"/><Relationship Id="rId31" Type="http://schemas.openxmlformats.org/officeDocument/2006/relationships/tags" Target="../tags/tag99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Relationship Id="rId22" Type="http://schemas.openxmlformats.org/officeDocument/2006/relationships/slideLayout" Target="../slideLayouts/slideLayout84.xml"/><Relationship Id="rId27" Type="http://schemas.openxmlformats.org/officeDocument/2006/relationships/tags" Target="../tags/tag95.xml"/><Relationship Id="rId30" Type="http://schemas.openxmlformats.org/officeDocument/2006/relationships/tags" Target="../tags/tag98.xml"/><Relationship Id="rId35" Type="http://schemas.openxmlformats.org/officeDocument/2006/relationships/image" Target="../media/image13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vmlDrawing" Target="../drawings/vmlDrawing4.v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image" Target="../media/image5.jpeg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theme" Target="../theme/theme11.xml"/><Relationship Id="rId33" Type="http://schemas.openxmlformats.org/officeDocument/2006/relationships/oleObject" Target="../embeddings/oleObject4.bin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tags" Target="../tags/tag144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tags" Target="../tags/tag147.xml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tags" Target="../tags/tag143.xml"/><Relationship Id="rId36" Type="http://schemas.openxmlformats.org/officeDocument/2006/relationships/image" Target="../media/image7.png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tags" Target="../tags/tag146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tags" Target="../tags/tag142.xml"/><Relationship Id="rId30" Type="http://schemas.openxmlformats.org/officeDocument/2006/relationships/tags" Target="../tags/tag145.xml"/><Relationship Id="rId35" Type="http://schemas.openxmlformats.org/officeDocument/2006/relationships/image" Target="../media/image6.png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3.xml"/><Relationship Id="rId2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111.xml"/><Relationship Id="rId6" Type="http://schemas.openxmlformats.org/officeDocument/2006/relationships/image" Target="../media/image1.jpeg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11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13" Type="http://schemas.openxmlformats.org/officeDocument/2006/relationships/slideLayout" Target="../slideLayouts/slideLayout127.xml"/><Relationship Id="rId18" Type="http://schemas.openxmlformats.org/officeDocument/2006/relationships/slideLayout" Target="../slideLayouts/slideLayout132.xml"/><Relationship Id="rId26" Type="http://schemas.openxmlformats.org/officeDocument/2006/relationships/theme" Target="../theme/theme13.xml"/><Relationship Id="rId3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135.xml"/><Relationship Id="rId34" Type="http://schemas.openxmlformats.org/officeDocument/2006/relationships/oleObject" Target="../embeddings/oleObject5.bin"/><Relationship Id="rId7" Type="http://schemas.openxmlformats.org/officeDocument/2006/relationships/slideLayout" Target="../slideLayouts/slideLayout121.xml"/><Relationship Id="rId12" Type="http://schemas.openxmlformats.org/officeDocument/2006/relationships/slideLayout" Target="../slideLayouts/slideLayout126.xml"/><Relationship Id="rId17" Type="http://schemas.openxmlformats.org/officeDocument/2006/relationships/slideLayout" Target="../slideLayouts/slideLayout131.xml"/><Relationship Id="rId25" Type="http://schemas.openxmlformats.org/officeDocument/2006/relationships/slideLayout" Target="../slideLayouts/slideLayout139.xml"/><Relationship Id="rId33" Type="http://schemas.openxmlformats.org/officeDocument/2006/relationships/tags" Target="../tags/tag194.xml"/><Relationship Id="rId2" Type="http://schemas.openxmlformats.org/officeDocument/2006/relationships/slideLayout" Target="../slideLayouts/slideLayout116.xml"/><Relationship Id="rId16" Type="http://schemas.openxmlformats.org/officeDocument/2006/relationships/slideLayout" Target="../slideLayouts/slideLayout130.xml"/><Relationship Id="rId20" Type="http://schemas.openxmlformats.org/officeDocument/2006/relationships/slideLayout" Target="../slideLayouts/slideLayout134.xml"/><Relationship Id="rId29" Type="http://schemas.openxmlformats.org/officeDocument/2006/relationships/tags" Target="../tags/tag190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25.xml"/><Relationship Id="rId24" Type="http://schemas.openxmlformats.org/officeDocument/2006/relationships/slideLayout" Target="../slideLayouts/slideLayout138.xml"/><Relationship Id="rId32" Type="http://schemas.openxmlformats.org/officeDocument/2006/relationships/tags" Target="../tags/tag193.xml"/><Relationship Id="rId37" Type="http://schemas.openxmlformats.org/officeDocument/2006/relationships/image" Target="../media/image7.png"/><Relationship Id="rId5" Type="http://schemas.openxmlformats.org/officeDocument/2006/relationships/slideLayout" Target="../slideLayouts/slideLayout119.xml"/><Relationship Id="rId15" Type="http://schemas.openxmlformats.org/officeDocument/2006/relationships/slideLayout" Target="../slideLayouts/slideLayout129.xml"/><Relationship Id="rId23" Type="http://schemas.openxmlformats.org/officeDocument/2006/relationships/slideLayout" Target="../slideLayouts/slideLayout137.xml"/><Relationship Id="rId28" Type="http://schemas.openxmlformats.org/officeDocument/2006/relationships/tags" Target="../tags/tag189.xml"/><Relationship Id="rId36" Type="http://schemas.openxmlformats.org/officeDocument/2006/relationships/image" Target="../media/image13.png"/><Relationship Id="rId10" Type="http://schemas.openxmlformats.org/officeDocument/2006/relationships/slideLayout" Target="../slideLayouts/slideLayout124.xml"/><Relationship Id="rId19" Type="http://schemas.openxmlformats.org/officeDocument/2006/relationships/slideLayout" Target="../slideLayouts/slideLayout133.xml"/><Relationship Id="rId31" Type="http://schemas.openxmlformats.org/officeDocument/2006/relationships/tags" Target="../tags/tag192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Relationship Id="rId14" Type="http://schemas.openxmlformats.org/officeDocument/2006/relationships/slideLayout" Target="../slideLayouts/slideLayout128.xml"/><Relationship Id="rId22" Type="http://schemas.openxmlformats.org/officeDocument/2006/relationships/slideLayout" Target="../slideLayouts/slideLayout136.xml"/><Relationship Id="rId27" Type="http://schemas.openxmlformats.org/officeDocument/2006/relationships/vmlDrawing" Target="../drawings/vmlDrawing5.vml"/><Relationship Id="rId30" Type="http://schemas.openxmlformats.org/officeDocument/2006/relationships/tags" Target="../tags/tag191.xml"/><Relationship Id="rId35" Type="http://schemas.openxmlformats.org/officeDocument/2006/relationships/image" Target="../media/image5.jpe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7.xml"/><Relationship Id="rId13" Type="http://schemas.openxmlformats.org/officeDocument/2006/relationships/slideLayout" Target="../slideLayouts/slideLayout152.xml"/><Relationship Id="rId18" Type="http://schemas.openxmlformats.org/officeDocument/2006/relationships/slideLayout" Target="../slideLayouts/slideLayout157.xml"/><Relationship Id="rId26" Type="http://schemas.openxmlformats.org/officeDocument/2006/relationships/theme" Target="../theme/theme14.xml"/><Relationship Id="rId3" Type="http://schemas.openxmlformats.org/officeDocument/2006/relationships/slideLayout" Target="../slideLayouts/slideLayout142.xml"/><Relationship Id="rId21" Type="http://schemas.openxmlformats.org/officeDocument/2006/relationships/slideLayout" Target="../slideLayouts/slideLayout160.xml"/><Relationship Id="rId34" Type="http://schemas.openxmlformats.org/officeDocument/2006/relationships/oleObject" Target="../embeddings/oleObject6.bin"/><Relationship Id="rId7" Type="http://schemas.openxmlformats.org/officeDocument/2006/relationships/slideLayout" Target="../slideLayouts/slideLayout146.xml"/><Relationship Id="rId12" Type="http://schemas.openxmlformats.org/officeDocument/2006/relationships/slideLayout" Target="../slideLayouts/slideLayout151.xml"/><Relationship Id="rId17" Type="http://schemas.openxmlformats.org/officeDocument/2006/relationships/slideLayout" Target="../slideLayouts/slideLayout156.xml"/><Relationship Id="rId25" Type="http://schemas.openxmlformats.org/officeDocument/2006/relationships/slideLayout" Target="../slideLayouts/slideLayout164.xml"/><Relationship Id="rId33" Type="http://schemas.openxmlformats.org/officeDocument/2006/relationships/tags" Target="../tags/tag241.xml"/><Relationship Id="rId2" Type="http://schemas.openxmlformats.org/officeDocument/2006/relationships/slideLayout" Target="../slideLayouts/slideLayout141.xml"/><Relationship Id="rId16" Type="http://schemas.openxmlformats.org/officeDocument/2006/relationships/slideLayout" Target="../slideLayouts/slideLayout155.xml"/><Relationship Id="rId20" Type="http://schemas.openxmlformats.org/officeDocument/2006/relationships/slideLayout" Target="../slideLayouts/slideLayout159.xml"/><Relationship Id="rId29" Type="http://schemas.openxmlformats.org/officeDocument/2006/relationships/tags" Target="../tags/tag237.xml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Relationship Id="rId11" Type="http://schemas.openxmlformats.org/officeDocument/2006/relationships/slideLayout" Target="../slideLayouts/slideLayout150.xml"/><Relationship Id="rId24" Type="http://schemas.openxmlformats.org/officeDocument/2006/relationships/slideLayout" Target="../slideLayouts/slideLayout163.xml"/><Relationship Id="rId32" Type="http://schemas.openxmlformats.org/officeDocument/2006/relationships/tags" Target="../tags/tag240.xml"/><Relationship Id="rId37" Type="http://schemas.openxmlformats.org/officeDocument/2006/relationships/image" Target="../media/image7.png"/><Relationship Id="rId5" Type="http://schemas.openxmlformats.org/officeDocument/2006/relationships/slideLayout" Target="../slideLayouts/slideLayout144.xml"/><Relationship Id="rId15" Type="http://schemas.openxmlformats.org/officeDocument/2006/relationships/slideLayout" Target="../slideLayouts/slideLayout154.xml"/><Relationship Id="rId23" Type="http://schemas.openxmlformats.org/officeDocument/2006/relationships/slideLayout" Target="../slideLayouts/slideLayout162.xml"/><Relationship Id="rId28" Type="http://schemas.openxmlformats.org/officeDocument/2006/relationships/tags" Target="../tags/tag236.xml"/><Relationship Id="rId36" Type="http://schemas.openxmlformats.org/officeDocument/2006/relationships/image" Target="../media/image13.png"/><Relationship Id="rId10" Type="http://schemas.openxmlformats.org/officeDocument/2006/relationships/slideLayout" Target="../slideLayouts/slideLayout149.xml"/><Relationship Id="rId19" Type="http://schemas.openxmlformats.org/officeDocument/2006/relationships/slideLayout" Target="../slideLayouts/slideLayout158.xml"/><Relationship Id="rId31" Type="http://schemas.openxmlformats.org/officeDocument/2006/relationships/tags" Target="../tags/tag239.xml"/><Relationship Id="rId4" Type="http://schemas.openxmlformats.org/officeDocument/2006/relationships/slideLayout" Target="../slideLayouts/slideLayout143.xml"/><Relationship Id="rId9" Type="http://schemas.openxmlformats.org/officeDocument/2006/relationships/slideLayout" Target="../slideLayouts/slideLayout148.xml"/><Relationship Id="rId14" Type="http://schemas.openxmlformats.org/officeDocument/2006/relationships/slideLayout" Target="../slideLayouts/slideLayout153.xml"/><Relationship Id="rId22" Type="http://schemas.openxmlformats.org/officeDocument/2006/relationships/slideLayout" Target="../slideLayouts/slideLayout161.xml"/><Relationship Id="rId27" Type="http://schemas.openxmlformats.org/officeDocument/2006/relationships/vmlDrawing" Target="../drawings/vmlDrawing6.vml"/><Relationship Id="rId30" Type="http://schemas.openxmlformats.org/officeDocument/2006/relationships/tags" Target="../tags/tag238.xml"/><Relationship Id="rId35" Type="http://schemas.openxmlformats.org/officeDocument/2006/relationships/image" Target="../media/image5.jpe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2.xml"/><Relationship Id="rId13" Type="http://schemas.openxmlformats.org/officeDocument/2006/relationships/slideLayout" Target="../slideLayouts/slideLayout177.xml"/><Relationship Id="rId18" Type="http://schemas.openxmlformats.org/officeDocument/2006/relationships/slideLayout" Target="../slideLayouts/slideLayout182.xml"/><Relationship Id="rId26" Type="http://schemas.openxmlformats.org/officeDocument/2006/relationships/theme" Target="../theme/theme15.xml"/><Relationship Id="rId3" Type="http://schemas.openxmlformats.org/officeDocument/2006/relationships/slideLayout" Target="../slideLayouts/slideLayout167.xml"/><Relationship Id="rId21" Type="http://schemas.openxmlformats.org/officeDocument/2006/relationships/slideLayout" Target="../slideLayouts/slideLayout185.xml"/><Relationship Id="rId34" Type="http://schemas.openxmlformats.org/officeDocument/2006/relationships/oleObject" Target="../embeddings/oleObject7.bin"/><Relationship Id="rId7" Type="http://schemas.openxmlformats.org/officeDocument/2006/relationships/slideLayout" Target="../slideLayouts/slideLayout171.xml"/><Relationship Id="rId12" Type="http://schemas.openxmlformats.org/officeDocument/2006/relationships/slideLayout" Target="../slideLayouts/slideLayout176.xml"/><Relationship Id="rId17" Type="http://schemas.openxmlformats.org/officeDocument/2006/relationships/slideLayout" Target="../slideLayouts/slideLayout181.xml"/><Relationship Id="rId25" Type="http://schemas.openxmlformats.org/officeDocument/2006/relationships/slideLayout" Target="../slideLayouts/slideLayout189.xml"/><Relationship Id="rId33" Type="http://schemas.openxmlformats.org/officeDocument/2006/relationships/tags" Target="../tags/tag288.xml"/><Relationship Id="rId2" Type="http://schemas.openxmlformats.org/officeDocument/2006/relationships/slideLayout" Target="../slideLayouts/slideLayout166.xml"/><Relationship Id="rId16" Type="http://schemas.openxmlformats.org/officeDocument/2006/relationships/slideLayout" Target="../slideLayouts/slideLayout180.xml"/><Relationship Id="rId20" Type="http://schemas.openxmlformats.org/officeDocument/2006/relationships/slideLayout" Target="../slideLayouts/slideLayout184.xml"/><Relationship Id="rId29" Type="http://schemas.openxmlformats.org/officeDocument/2006/relationships/tags" Target="../tags/tag284.xml"/><Relationship Id="rId1" Type="http://schemas.openxmlformats.org/officeDocument/2006/relationships/slideLayout" Target="../slideLayouts/slideLayout165.xml"/><Relationship Id="rId6" Type="http://schemas.openxmlformats.org/officeDocument/2006/relationships/slideLayout" Target="../slideLayouts/slideLayout170.xml"/><Relationship Id="rId11" Type="http://schemas.openxmlformats.org/officeDocument/2006/relationships/slideLayout" Target="../slideLayouts/slideLayout175.xml"/><Relationship Id="rId24" Type="http://schemas.openxmlformats.org/officeDocument/2006/relationships/slideLayout" Target="../slideLayouts/slideLayout188.xml"/><Relationship Id="rId32" Type="http://schemas.openxmlformats.org/officeDocument/2006/relationships/tags" Target="../tags/tag287.xml"/><Relationship Id="rId37" Type="http://schemas.openxmlformats.org/officeDocument/2006/relationships/image" Target="../media/image7.png"/><Relationship Id="rId5" Type="http://schemas.openxmlformats.org/officeDocument/2006/relationships/slideLayout" Target="../slideLayouts/slideLayout169.xml"/><Relationship Id="rId15" Type="http://schemas.openxmlformats.org/officeDocument/2006/relationships/slideLayout" Target="../slideLayouts/slideLayout179.xml"/><Relationship Id="rId23" Type="http://schemas.openxmlformats.org/officeDocument/2006/relationships/slideLayout" Target="../slideLayouts/slideLayout187.xml"/><Relationship Id="rId28" Type="http://schemas.openxmlformats.org/officeDocument/2006/relationships/tags" Target="../tags/tag283.xml"/><Relationship Id="rId36" Type="http://schemas.openxmlformats.org/officeDocument/2006/relationships/image" Target="../media/image13.png"/><Relationship Id="rId10" Type="http://schemas.openxmlformats.org/officeDocument/2006/relationships/slideLayout" Target="../slideLayouts/slideLayout174.xml"/><Relationship Id="rId19" Type="http://schemas.openxmlformats.org/officeDocument/2006/relationships/slideLayout" Target="../slideLayouts/slideLayout183.xml"/><Relationship Id="rId31" Type="http://schemas.openxmlformats.org/officeDocument/2006/relationships/tags" Target="../tags/tag286.xml"/><Relationship Id="rId4" Type="http://schemas.openxmlformats.org/officeDocument/2006/relationships/slideLayout" Target="../slideLayouts/slideLayout168.xml"/><Relationship Id="rId9" Type="http://schemas.openxmlformats.org/officeDocument/2006/relationships/slideLayout" Target="../slideLayouts/slideLayout173.xml"/><Relationship Id="rId14" Type="http://schemas.openxmlformats.org/officeDocument/2006/relationships/slideLayout" Target="../slideLayouts/slideLayout178.xml"/><Relationship Id="rId22" Type="http://schemas.openxmlformats.org/officeDocument/2006/relationships/slideLayout" Target="../slideLayouts/slideLayout186.xml"/><Relationship Id="rId27" Type="http://schemas.openxmlformats.org/officeDocument/2006/relationships/vmlDrawing" Target="../drawings/vmlDrawing7.vml"/><Relationship Id="rId30" Type="http://schemas.openxmlformats.org/officeDocument/2006/relationships/tags" Target="../tags/tag285.xml"/><Relationship Id="rId35" Type="http://schemas.openxmlformats.org/officeDocument/2006/relationships/image" Target="../media/image5.jpe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7.xml"/><Relationship Id="rId13" Type="http://schemas.openxmlformats.org/officeDocument/2006/relationships/slideLayout" Target="../slideLayouts/slideLayout202.xml"/><Relationship Id="rId18" Type="http://schemas.openxmlformats.org/officeDocument/2006/relationships/slideLayout" Target="../slideLayouts/slideLayout207.xml"/><Relationship Id="rId26" Type="http://schemas.openxmlformats.org/officeDocument/2006/relationships/vmlDrawing" Target="../drawings/vmlDrawing8.vml"/><Relationship Id="rId3" Type="http://schemas.openxmlformats.org/officeDocument/2006/relationships/slideLayout" Target="../slideLayouts/slideLayout192.xml"/><Relationship Id="rId21" Type="http://schemas.openxmlformats.org/officeDocument/2006/relationships/slideLayout" Target="../slideLayouts/slideLayout210.xml"/><Relationship Id="rId34" Type="http://schemas.openxmlformats.org/officeDocument/2006/relationships/image" Target="../media/image5.jpeg"/><Relationship Id="rId7" Type="http://schemas.openxmlformats.org/officeDocument/2006/relationships/slideLayout" Target="../slideLayouts/slideLayout196.xml"/><Relationship Id="rId12" Type="http://schemas.openxmlformats.org/officeDocument/2006/relationships/slideLayout" Target="../slideLayouts/slideLayout201.xml"/><Relationship Id="rId17" Type="http://schemas.openxmlformats.org/officeDocument/2006/relationships/slideLayout" Target="../slideLayouts/slideLayout206.xml"/><Relationship Id="rId25" Type="http://schemas.openxmlformats.org/officeDocument/2006/relationships/theme" Target="../theme/theme16.xml"/><Relationship Id="rId33" Type="http://schemas.openxmlformats.org/officeDocument/2006/relationships/oleObject" Target="../embeddings/oleObject8.bin"/><Relationship Id="rId2" Type="http://schemas.openxmlformats.org/officeDocument/2006/relationships/slideLayout" Target="../slideLayouts/slideLayout191.xml"/><Relationship Id="rId16" Type="http://schemas.openxmlformats.org/officeDocument/2006/relationships/slideLayout" Target="../slideLayouts/slideLayout205.xml"/><Relationship Id="rId20" Type="http://schemas.openxmlformats.org/officeDocument/2006/relationships/slideLayout" Target="../slideLayouts/slideLayout209.xml"/><Relationship Id="rId29" Type="http://schemas.openxmlformats.org/officeDocument/2006/relationships/tags" Target="../tags/tag332.xml"/><Relationship Id="rId1" Type="http://schemas.openxmlformats.org/officeDocument/2006/relationships/slideLayout" Target="../slideLayouts/slideLayout190.xml"/><Relationship Id="rId6" Type="http://schemas.openxmlformats.org/officeDocument/2006/relationships/slideLayout" Target="../slideLayouts/slideLayout195.xml"/><Relationship Id="rId11" Type="http://schemas.openxmlformats.org/officeDocument/2006/relationships/slideLayout" Target="../slideLayouts/slideLayout200.xml"/><Relationship Id="rId24" Type="http://schemas.openxmlformats.org/officeDocument/2006/relationships/slideLayout" Target="../slideLayouts/slideLayout213.xml"/><Relationship Id="rId32" Type="http://schemas.openxmlformats.org/officeDocument/2006/relationships/tags" Target="../tags/tag335.xml"/><Relationship Id="rId5" Type="http://schemas.openxmlformats.org/officeDocument/2006/relationships/slideLayout" Target="../slideLayouts/slideLayout194.xml"/><Relationship Id="rId15" Type="http://schemas.openxmlformats.org/officeDocument/2006/relationships/slideLayout" Target="../slideLayouts/slideLayout204.xml"/><Relationship Id="rId23" Type="http://schemas.openxmlformats.org/officeDocument/2006/relationships/slideLayout" Target="../slideLayouts/slideLayout212.xml"/><Relationship Id="rId28" Type="http://schemas.openxmlformats.org/officeDocument/2006/relationships/tags" Target="../tags/tag331.xml"/><Relationship Id="rId36" Type="http://schemas.openxmlformats.org/officeDocument/2006/relationships/image" Target="../media/image7.png"/><Relationship Id="rId10" Type="http://schemas.openxmlformats.org/officeDocument/2006/relationships/slideLayout" Target="../slideLayouts/slideLayout199.xml"/><Relationship Id="rId19" Type="http://schemas.openxmlformats.org/officeDocument/2006/relationships/slideLayout" Target="../slideLayouts/slideLayout208.xml"/><Relationship Id="rId31" Type="http://schemas.openxmlformats.org/officeDocument/2006/relationships/tags" Target="../tags/tag334.xml"/><Relationship Id="rId4" Type="http://schemas.openxmlformats.org/officeDocument/2006/relationships/slideLayout" Target="../slideLayouts/slideLayout193.xml"/><Relationship Id="rId9" Type="http://schemas.openxmlformats.org/officeDocument/2006/relationships/slideLayout" Target="../slideLayouts/slideLayout198.xml"/><Relationship Id="rId14" Type="http://schemas.openxmlformats.org/officeDocument/2006/relationships/slideLayout" Target="../slideLayouts/slideLayout203.xml"/><Relationship Id="rId22" Type="http://schemas.openxmlformats.org/officeDocument/2006/relationships/slideLayout" Target="../slideLayouts/slideLayout211.xml"/><Relationship Id="rId27" Type="http://schemas.openxmlformats.org/officeDocument/2006/relationships/tags" Target="../tags/tag330.xml"/><Relationship Id="rId30" Type="http://schemas.openxmlformats.org/officeDocument/2006/relationships/tags" Target="../tags/tag333.xml"/><Relationship Id="rId35" Type="http://schemas.openxmlformats.org/officeDocument/2006/relationships/image" Target="../media/image13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1.xml"/><Relationship Id="rId13" Type="http://schemas.openxmlformats.org/officeDocument/2006/relationships/slideLayout" Target="../slideLayouts/slideLayout226.xml"/><Relationship Id="rId18" Type="http://schemas.openxmlformats.org/officeDocument/2006/relationships/slideLayout" Target="../slideLayouts/slideLayout231.xml"/><Relationship Id="rId26" Type="http://schemas.openxmlformats.org/officeDocument/2006/relationships/theme" Target="../theme/theme17.xml"/><Relationship Id="rId3" Type="http://schemas.openxmlformats.org/officeDocument/2006/relationships/slideLayout" Target="../slideLayouts/slideLayout216.xml"/><Relationship Id="rId21" Type="http://schemas.openxmlformats.org/officeDocument/2006/relationships/slideLayout" Target="../slideLayouts/slideLayout234.xml"/><Relationship Id="rId34" Type="http://schemas.openxmlformats.org/officeDocument/2006/relationships/oleObject" Target="../embeddings/oleObject9.bin"/><Relationship Id="rId7" Type="http://schemas.openxmlformats.org/officeDocument/2006/relationships/slideLayout" Target="../slideLayouts/slideLayout220.xml"/><Relationship Id="rId12" Type="http://schemas.openxmlformats.org/officeDocument/2006/relationships/slideLayout" Target="../slideLayouts/slideLayout225.xml"/><Relationship Id="rId17" Type="http://schemas.openxmlformats.org/officeDocument/2006/relationships/slideLayout" Target="../slideLayouts/slideLayout230.xml"/><Relationship Id="rId25" Type="http://schemas.openxmlformats.org/officeDocument/2006/relationships/slideLayout" Target="../slideLayouts/slideLayout238.xml"/><Relationship Id="rId33" Type="http://schemas.openxmlformats.org/officeDocument/2006/relationships/tags" Target="../tags/tag382.xml"/><Relationship Id="rId2" Type="http://schemas.openxmlformats.org/officeDocument/2006/relationships/slideLayout" Target="../slideLayouts/slideLayout215.xml"/><Relationship Id="rId16" Type="http://schemas.openxmlformats.org/officeDocument/2006/relationships/slideLayout" Target="../slideLayouts/slideLayout229.xml"/><Relationship Id="rId20" Type="http://schemas.openxmlformats.org/officeDocument/2006/relationships/slideLayout" Target="../slideLayouts/slideLayout233.xml"/><Relationship Id="rId29" Type="http://schemas.openxmlformats.org/officeDocument/2006/relationships/tags" Target="../tags/tag378.xml"/><Relationship Id="rId1" Type="http://schemas.openxmlformats.org/officeDocument/2006/relationships/slideLayout" Target="../slideLayouts/slideLayout214.xml"/><Relationship Id="rId6" Type="http://schemas.openxmlformats.org/officeDocument/2006/relationships/slideLayout" Target="../slideLayouts/slideLayout219.xml"/><Relationship Id="rId11" Type="http://schemas.openxmlformats.org/officeDocument/2006/relationships/slideLayout" Target="../slideLayouts/slideLayout224.xml"/><Relationship Id="rId24" Type="http://schemas.openxmlformats.org/officeDocument/2006/relationships/slideLayout" Target="../slideLayouts/slideLayout237.xml"/><Relationship Id="rId32" Type="http://schemas.openxmlformats.org/officeDocument/2006/relationships/tags" Target="../tags/tag381.xml"/><Relationship Id="rId37" Type="http://schemas.openxmlformats.org/officeDocument/2006/relationships/image" Target="../media/image7.png"/><Relationship Id="rId5" Type="http://schemas.openxmlformats.org/officeDocument/2006/relationships/slideLayout" Target="../slideLayouts/slideLayout218.xml"/><Relationship Id="rId15" Type="http://schemas.openxmlformats.org/officeDocument/2006/relationships/slideLayout" Target="../slideLayouts/slideLayout228.xml"/><Relationship Id="rId23" Type="http://schemas.openxmlformats.org/officeDocument/2006/relationships/slideLayout" Target="../slideLayouts/slideLayout236.xml"/><Relationship Id="rId28" Type="http://schemas.openxmlformats.org/officeDocument/2006/relationships/tags" Target="../tags/tag377.xml"/><Relationship Id="rId36" Type="http://schemas.openxmlformats.org/officeDocument/2006/relationships/image" Target="../media/image13.png"/><Relationship Id="rId10" Type="http://schemas.openxmlformats.org/officeDocument/2006/relationships/slideLayout" Target="../slideLayouts/slideLayout223.xml"/><Relationship Id="rId19" Type="http://schemas.openxmlformats.org/officeDocument/2006/relationships/slideLayout" Target="../slideLayouts/slideLayout232.xml"/><Relationship Id="rId31" Type="http://schemas.openxmlformats.org/officeDocument/2006/relationships/tags" Target="../tags/tag380.xml"/><Relationship Id="rId4" Type="http://schemas.openxmlformats.org/officeDocument/2006/relationships/slideLayout" Target="../slideLayouts/slideLayout217.xml"/><Relationship Id="rId9" Type="http://schemas.openxmlformats.org/officeDocument/2006/relationships/slideLayout" Target="../slideLayouts/slideLayout222.xml"/><Relationship Id="rId14" Type="http://schemas.openxmlformats.org/officeDocument/2006/relationships/slideLayout" Target="../slideLayouts/slideLayout227.xml"/><Relationship Id="rId22" Type="http://schemas.openxmlformats.org/officeDocument/2006/relationships/slideLayout" Target="../slideLayouts/slideLayout235.xml"/><Relationship Id="rId27" Type="http://schemas.openxmlformats.org/officeDocument/2006/relationships/vmlDrawing" Target="../drawings/vmlDrawing9.vml"/><Relationship Id="rId30" Type="http://schemas.openxmlformats.org/officeDocument/2006/relationships/tags" Target="../tags/tag379.xml"/><Relationship Id="rId35" Type="http://schemas.openxmlformats.org/officeDocument/2006/relationships/image" Target="../media/image5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5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theme" Target="../theme/theme5.xml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33" Type="http://schemas.openxmlformats.org/officeDocument/2006/relationships/tags" Target="../tags/tag6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32" Type="http://schemas.openxmlformats.org/officeDocument/2006/relationships/tags" Target="../tags/tag5.xml"/><Relationship Id="rId37" Type="http://schemas.openxmlformats.org/officeDocument/2006/relationships/image" Target="../media/image7.png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tags" Target="../tags/tag1.xml"/><Relationship Id="rId36" Type="http://schemas.openxmlformats.org/officeDocument/2006/relationships/image" Target="../media/image6.png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31" Type="http://schemas.openxmlformats.org/officeDocument/2006/relationships/tags" Target="../tags/tag4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vmlDrawing" Target="../drawings/vmlDrawing1.vml"/><Relationship Id="rId30" Type="http://schemas.openxmlformats.org/officeDocument/2006/relationships/tags" Target="../tags/tag3.xml"/><Relationship Id="rId35" Type="http://schemas.openxmlformats.org/officeDocument/2006/relationships/image" Target="../media/image5.jpe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3.jpeg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35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5" Type="http://schemas.openxmlformats.org/officeDocument/2006/relationships/image" Target="../media/image1.jpeg"/><Relationship Id="rId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vmlDrawing" Target="../drawings/vmlDrawing2.v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34" Type="http://schemas.openxmlformats.org/officeDocument/2006/relationships/image" Target="../media/image5.jpeg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theme" Target="../theme/theme9.xml"/><Relationship Id="rId33" Type="http://schemas.openxmlformats.org/officeDocument/2006/relationships/oleObject" Target="../embeddings/oleObject2.bin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tags" Target="../tags/tag5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tags" Target="../tags/tag53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tags" Target="../tags/tag49.xml"/><Relationship Id="rId36" Type="http://schemas.openxmlformats.org/officeDocument/2006/relationships/image" Target="../media/image7.png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tags" Target="../tags/tag52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tags" Target="../tags/tag48.xml"/><Relationship Id="rId30" Type="http://schemas.openxmlformats.org/officeDocument/2006/relationships/tags" Target="../tags/tag51.xml"/><Relationship Id="rId35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" y="0"/>
            <a:ext cx="914257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17283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704" r:id="rId2"/>
    <p:sldLayoutId id="2147483707" r:id="rId3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7757579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796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280080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  <p:sldLayoutId id="2147483783" r:id="rId12"/>
    <p:sldLayoutId id="2147483784" r:id="rId13"/>
    <p:sldLayoutId id="2147483785" r:id="rId14"/>
    <p:sldLayoutId id="2147483786" r:id="rId15"/>
    <p:sldLayoutId id="2147483787" r:id="rId16"/>
    <p:sldLayoutId id="2147483788" r:id="rId17"/>
    <p:sldLayoutId id="2147483789" r:id="rId18"/>
    <p:sldLayoutId id="2147483790" r:id="rId19"/>
    <p:sldLayoutId id="2147483791" r:id="rId20"/>
    <p:sldLayoutId id="2147483792" r:id="rId21"/>
    <p:sldLayoutId id="2147483793" r:id="rId22"/>
    <p:sldLayoutId id="2147483794" r:id="rId23"/>
    <p:sldLayoutId id="2147483795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7693390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822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3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3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136068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  <p:sldLayoutId id="2147483808" r:id="rId12"/>
    <p:sldLayoutId id="2147483809" r:id="rId13"/>
    <p:sldLayoutId id="2147483810" r:id="rId14"/>
    <p:sldLayoutId id="2147483811" r:id="rId15"/>
    <p:sldLayoutId id="2147483812" r:id="rId16"/>
    <p:sldLayoutId id="2147483813" r:id="rId17"/>
    <p:sldLayoutId id="2147483814" r:id="rId18"/>
    <p:sldLayoutId id="2147483815" r:id="rId19"/>
    <p:sldLayoutId id="2147483816" r:id="rId20"/>
    <p:sldLayoutId id="2147483817" r:id="rId21"/>
    <p:sldLayoutId id="2147483818" r:id="rId22"/>
    <p:sldLayoutId id="2147483819" r:id="rId23"/>
    <p:sldLayoutId id="2147483820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" y="0"/>
            <a:ext cx="914257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96423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8" r:id="rId3"/>
    <p:sldLayoutId id="2147483829" r:id="rId4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640" name="think-cell Slide" r:id="rId34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4874594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  <p:sldLayoutId id="2147483837" r:id="rId7"/>
    <p:sldLayoutId id="2147483838" r:id="rId8"/>
    <p:sldLayoutId id="2147483839" r:id="rId9"/>
    <p:sldLayoutId id="2147483840" r:id="rId10"/>
    <p:sldLayoutId id="2147483841" r:id="rId11"/>
    <p:sldLayoutId id="2147483842" r:id="rId12"/>
    <p:sldLayoutId id="2147483843" r:id="rId13"/>
    <p:sldLayoutId id="2147483844" r:id="rId14"/>
    <p:sldLayoutId id="2147483845" r:id="rId15"/>
    <p:sldLayoutId id="2147483846" r:id="rId16"/>
    <p:sldLayoutId id="2147483847" r:id="rId17"/>
    <p:sldLayoutId id="2147483848" r:id="rId18"/>
    <p:sldLayoutId id="2147483849" r:id="rId19"/>
    <p:sldLayoutId id="2147483850" r:id="rId20"/>
    <p:sldLayoutId id="2147483851" r:id="rId21"/>
    <p:sldLayoutId id="2147483852" r:id="rId22"/>
    <p:sldLayoutId id="2147483853" r:id="rId23"/>
    <p:sldLayoutId id="2147483854" r:id="rId24"/>
    <p:sldLayoutId id="2147483856" r:id="rId2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536" name="think-cell Slide" r:id="rId34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613854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0" r:id="rId3"/>
    <p:sldLayoutId id="2147483861" r:id="rId4"/>
    <p:sldLayoutId id="2147483862" r:id="rId5"/>
    <p:sldLayoutId id="2147483863" r:id="rId6"/>
    <p:sldLayoutId id="2147483864" r:id="rId7"/>
    <p:sldLayoutId id="2147483865" r:id="rId8"/>
    <p:sldLayoutId id="2147483866" r:id="rId9"/>
    <p:sldLayoutId id="2147483867" r:id="rId10"/>
    <p:sldLayoutId id="2147483868" r:id="rId11"/>
    <p:sldLayoutId id="2147483869" r:id="rId12"/>
    <p:sldLayoutId id="2147483870" r:id="rId13"/>
    <p:sldLayoutId id="2147483871" r:id="rId14"/>
    <p:sldLayoutId id="2147483872" r:id="rId15"/>
    <p:sldLayoutId id="2147483873" r:id="rId16"/>
    <p:sldLayoutId id="2147483874" r:id="rId17"/>
    <p:sldLayoutId id="2147483875" r:id="rId18"/>
    <p:sldLayoutId id="2147483876" r:id="rId19"/>
    <p:sldLayoutId id="2147483877" r:id="rId20"/>
    <p:sldLayoutId id="2147483878" r:id="rId21"/>
    <p:sldLayoutId id="2147483879" r:id="rId22"/>
    <p:sldLayoutId id="2147483880" r:id="rId23"/>
    <p:sldLayoutId id="2147483881" r:id="rId24"/>
    <p:sldLayoutId id="2147483882" r:id="rId2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333" name="think-cell Slide" r:id="rId34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GB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662408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85" r:id="rId2"/>
    <p:sldLayoutId id="2147483886" r:id="rId3"/>
    <p:sldLayoutId id="2147483887" r:id="rId4"/>
    <p:sldLayoutId id="2147483888" r:id="rId5"/>
    <p:sldLayoutId id="2147483889" r:id="rId6"/>
    <p:sldLayoutId id="2147483890" r:id="rId7"/>
    <p:sldLayoutId id="2147483891" r:id="rId8"/>
    <p:sldLayoutId id="2147483892" r:id="rId9"/>
    <p:sldLayoutId id="2147483893" r:id="rId10"/>
    <p:sldLayoutId id="2147483894" r:id="rId11"/>
    <p:sldLayoutId id="2147483895" r:id="rId12"/>
    <p:sldLayoutId id="2147483896" r:id="rId13"/>
    <p:sldLayoutId id="2147483897" r:id="rId14"/>
    <p:sldLayoutId id="2147483898" r:id="rId15"/>
    <p:sldLayoutId id="2147483899" r:id="rId16"/>
    <p:sldLayoutId id="2147483900" r:id="rId17"/>
    <p:sldLayoutId id="2147483901" r:id="rId18"/>
    <p:sldLayoutId id="2147483902" r:id="rId19"/>
    <p:sldLayoutId id="2147483903" r:id="rId20"/>
    <p:sldLayoutId id="2147483904" r:id="rId21"/>
    <p:sldLayoutId id="2147483905" r:id="rId22"/>
    <p:sldLayoutId id="2147483906" r:id="rId23"/>
    <p:sldLayoutId id="2147483907" r:id="rId24"/>
    <p:sldLayoutId id="2147483908" r:id="rId2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357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ZA">
                <a:solidFill>
                  <a:srgbClr val="998F86"/>
                </a:solidFill>
              </a:rPr>
              <a:t>2018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851938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0" r:id="rId1"/>
    <p:sldLayoutId id="2147483911" r:id="rId2"/>
    <p:sldLayoutId id="2147483912" r:id="rId3"/>
    <p:sldLayoutId id="2147483913" r:id="rId4"/>
    <p:sldLayoutId id="2147483914" r:id="rId5"/>
    <p:sldLayoutId id="2147483915" r:id="rId6"/>
    <p:sldLayoutId id="2147483916" r:id="rId7"/>
    <p:sldLayoutId id="2147483917" r:id="rId8"/>
    <p:sldLayoutId id="2147483918" r:id="rId9"/>
    <p:sldLayoutId id="2147483919" r:id="rId10"/>
    <p:sldLayoutId id="2147483920" r:id="rId11"/>
    <p:sldLayoutId id="2147483921" r:id="rId12"/>
    <p:sldLayoutId id="2147483922" r:id="rId13"/>
    <p:sldLayoutId id="2147483923" r:id="rId14"/>
    <p:sldLayoutId id="2147483924" r:id="rId15"/>
    <p:sldLayoutId id="2147483925" r:id="rId16"/>
    <p:sldLayoutId id="2147483926" r:id="rId17"/>
    <p:sldLayoutId id="2147483927" r:id="rId18"/>
    <p:sldLayoutId id="2147483928" r:id="rId19"/>
    <p:sldLayoutId id="2147483929" r:id="rId20"/>
    <p:sldLayoutId id="2147483930" r:id="rId21"/>
    <p:sldLayoutId id="2147483931" r:id="rId22"/>
    <p:sldLayoutId id="2147483932" r:id="rId23"/>
    <p:sldLayoutId id="2147483933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/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3348" name="think-cell Slide" r:id="rId34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3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6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6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2017 PERO &amp; MERO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54000" tIns="54000" rIns="0" bIns="0" rtlCol="0" anchor="b"/>
          <a:lstStyle/>
          <a:p>
            <a:pPr defTabSz="685800"/>
            <a:r>
              <a:rPr lang="en-US" sz="600" dirty="0">
                <a:solidFill>
                  <a:srgbClr val="998F86"/>
                </a:solidFill>
              </a:rPr>
              <a:t>© Western Cape Government 2012  |</a:t>
            </a:r>
            <a:endParaRPr lang="en-GB" sz="6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80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011958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  <p:sldLayoutId id="2147483939" r:id="rId5"/>
    <p:sldLayoutId id="2147483940" r:id="rId6"/>
    <p:sldLayoutId id="2147483941" r:id="rId7"/>
    <p:sldLayoutId id="2147483942" r:id="rId8"/>
    <p:sldLayoutId id="2147483943" r:id="rId9"/>
    <p:sldLayoutId id="2147483944" r:id="rId10"/>
    <p:sldLayoutId id="2147483945" r:id="rId11"/>
    <p:sldLayoutId id="2147483946" r:id="rId12"/>
    <p:sldLayoutId id="2147483947" r:id="rId13"/>
    <p:sldLayoutId id="2147483948" r:id="rId14"/>
    <p:sldLayoutId id="2147483949" r:id="rId15"/>
    <p:sldLayoutId id="2147483950" r:id="rId16"/>
    <p:sldLayoutId id="2147483951" r:id="rId17"/>
    <p:sldLayoutId id="2147483952" r:id="rId18"/>
    <p:sldLayoutId id="2147483953" r:id="rId19"/>
    <p:sldLayoutId id="2147483954" r:id="rId20"/>
    <p:sldLayoutId id="2147483955" r:id="rId21"/>
    <p:sldLayoutId id="2147483956" r:id="rId22"/>
    <p:sldLayoutId id="2147483957" r:id="rId23"/>
    <p:sldLayoutId id="2147483958" r:id="rId24"/>
    <p:sldLayoutId id="2147483959" r:id="rId25"/>
  </p:sldLayoutIdLst>
  <p:hf hdr="0" dt="0"/>
  <p:txStyles>
    <p:titleStyle>
      <a:lvl1pPr algn="l" defTabSz="685800" rtl="0" eaLnBrk="1" latinLnBrk="0" hangingPunct="1">
        <a:spcBef>
          <a:spcPct val="0"/>
        </a:spcBef>
        <a:buNone/>
        <a:defRPr sz="18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225"/>
        </a:spcBef>
        <a:buFont typeface="Arial" pitchFamily="34" charset="0"/>
        <a:buNone/>
        <a:defRPr sz="12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35000" indent="-135000" algn="l" defTabSz="685800" rtl="0" eaLnBrk="1" latinLnBrk="0" hangingPunct="1">
        <a:spcBef>
          <a:spcPts val="225"/>
        </a:spcBef>
        <a:buClr>
          <a:srgbClr val="002060"/>
        </a:buClr>
        <a:buFontTx/>
        <a:buBlip>
          <a:blip r:embed="rId37"/>
        </a:buBlip>
        <a:defRPr sz="12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270000" indent="-135000" algn="l" defTabSz="685800" rtl="0" eaLnBrk="1" latinLnBrk="0" hangingPunct="1">
        <a:spcBef>
          <a:spcPts val="225"/>
        </a:spcBef>
        <a:buClr>
          <a:schemeClr val="accent3"/>
        </a:buClr>
        <a:buFont typeface="Arial" pitchFamily="34" charset="0"/>
        <a:buChar char="•"/>
        <a:defRPr lang="en-US" sz="12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405000" indent="-135000" algn="l" defTabSz="685800" rtl="0" eaLnBrk="1" latinLnBrk="0" hangingPunct="1">
        <a:spcBef>
          <a:spcPts val="225"/>
        </a:spcBef>
        <a:buClr>
          <a:schemeClr val="accent3"/>
        </a:buClr>
        <a:buFont typeface="Arial" pitchFamily="34" charset="0"/>
        <a:buChar char="–"/>
        <a:defRPr sz="12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350000" indent="-1350000" algn="l" defTabSz="685800" rtl="0" eaLnBrk="1" latinLnBrk="0" hangingPunct="1">
        <a:spcBef>
          <a:spcPts val="225"/>
        </a:spcBef>
        <a:buFont typeface="Arial" pitchFamily="34" charset="0"/>
        <a:buNone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WCG_ppt_01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2516188" y="3641725"/>
            <a:ext cx="6627812" cy="1765300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2222" dirty="0">
                <a:solidFill>
                  <a:schemeClr val="bg1"/>
                </a:solidFill>
                <a:latin typeface="Century Gothic"/>
                <a:cs typeface="Century Gothic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xmlns="" val="353692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/>
          <p:cNvSpPr txBox="1">
            <a:spLocks/>
          </p:cNvSpPr>
          <p:nvPr/>
        </p:nvSpPr>
        <p:spPr>
          <a:xfrm>
            <a:off x="2486026" y="2371725"/>
            <a:ext cx="6008688" cy="20383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prstClr val="white"/>
                </a:solidFill>
              </a:rPr>
              <a:t>New section heading</a:t>
            </a:r>
            <a:br>
              <a:rPr lang="en-US" dirty="0">
                <a:solidFill>
                  <a:prstClr val="white"/>
                </a:solidFill>
              </a:rPr>
            </a:b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268"/>
            <a:ext cx="9144000" cy="6857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46464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WCG_ppt_01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2516188" y="3641725"/>
            <a:ext cx="6627812" cy="1765300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2222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xmlns="" val="12648363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44793386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63" name="think-cell Slide" r:id="rId34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3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3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34127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  <p:sldLayoutId id="2147483693" r:id="rId20"/>
    <p:sldLayoutId id="2147483694" r:id="rId21"/>
    <p:sldLayoutId id="2147483695" r:id="rId22"/>
    <p:sldLayoutId id="2147483696" r:id="rId23"/>
    <p:sldLayoutId id="2147483697" r:id="rId24"/>
    <p:sldLayoutId id="2147483822" r:id="rId2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/>
          <p:cNvSpPr txBox="1">
            <a:spLocks/>
          </p:cNvSpPr>
          <p:nvPr/>
        </p:nvSpPr>
        <p:spPr>
          <a:xfrm>
            <a:off x="2486026" y="2371725"/>
            <a:ext cx="6008688" cy="20383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prstClr val="white"/>
                </a:solidFill>
              </a:rPr>
              <a:t>New section heading</a:t>
            </a:r>
            <a:br>
              <a:rPr lang="en-US" dirty="0">
                <a:solidFill>
                  <a:prstClr val="white"/>
                </a:solidFill>
              </a:rPr>
            </a:b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268"/>
            <a:ext cx="9144000" cy="6857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52717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2" r:id="rId2"/>
    <p:sldLayoutId id="2147483713" r:id="rId3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" y="0"/>
            <a:ext cx="914257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112945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" y="0"/>
            <a:ext cx="914257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7380571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2" r:id="rId2"/>
    <p:sldLayoutId id="2147483735" r:id="rId3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7072622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777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3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3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097802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  <p:sldLayoutId id="2147483758" r:id="rId12"/>
    <p:sldLayoutId id="2147483759" r:id="rId13"/>
    <p:sldLayoutId id="2147483760" r:id="rId14"/>
    <p:sldLayoutId id="2147483761" r:id="rId15"/>
    <p:sldLayoutId id="2147483762" r:id="rId16"/>
    <p:sldLayoutId id="2147483763" r:id="rId17"/>
    <p:sldLayoutId id="2147483764" r:id="rId18"/>
    <p:sldLayoutId id="2147483765" r:id="rId19"/>
    <p:sldLayoutId id="2147483766" r:id="rId20"/>
    <p:sldLayoutId id="2147483767" r:id="rId21"/>
    <p:sldLayoutId id="2147483768" r:id="rId22"/>
    <p:sldLayoutId id="2147483769" r:id="rId23"/>
    <p:sldLayoutId id="2147483770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3.xml"/><Relationship Id="rId1" Type="http://schemas.openxmlformats.org/officeDocument/2006/relationships/tags" Target="../tags/tag424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4.xml"/><Relationship Id="rId6" Type="http://schemas.openxmlformats.org/officeDocument/2006/relationships/image" Target="../media/image23.png"/><Relationship Id="rId11" Type="http://schemas.openxmlformats.org/officeDocument/2006/relationships/image" Target="../media/image27.png"/><Relationship Id="rId5" Type="http://schemas.openxmlformats.org/officeDocument/2006/relationships/image" Target="../media/image22.png"/><Relationship Id="rId10" Type="http://schemas.openxmlformats.org/officeDocument/2006/relationships/image" Target="../media/image26.png"/><Relationship Id="rId4" Type="http://schemas.openxmlformats.org/officeDocument/2006/relationships/image" Target="../media/image21.png"/><Relationship Id="rId9" Type="http://schemas.openxmlformats.org/officeDocument/2006/relationships/image" Target="../media/image18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64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1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9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6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0.xml"/><Relationship Id="rId1" Type="http://schemas.openxmlformats.org/officeDocument/2006/relationships/tags" Target="../tags/tag42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6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4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9.xml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2960914"/>
            <a:ext cx="8208912" cy="1476199"/>
          </a:xfrm>
        </p:spPr>
        <p:txBody>
          <a:bodyPr>
            <a:normAutofit/>
          </a:bodyPr>
          <a:lstStyle/>
          <a:p>
            <a:r>
              <a:rPr lang="en-US" sz="2800" dirty="0">
                <a:latin typeface="Century Gothic"/>
                <a:cs typeface="Century Gothic"/>
              </a:rPr>
              <a:t/>
            </a:r>
            <a:br>
              <a:rPr lang="en-US" sz="2800" dirty="0">
                <a:latin typeface="Century Gothic"/>
                <a:cs typeface="Century Gothic"/>
              </a:rPr>
            </a:br>
            <a:r>
              <a:rPr lang="en-US" sz="3100" dirty="0">
                <a:latin typeface="Century Gothic"/>
                <a:cs typeface="Century Gothic"/>
              </a:rPr>
              <a:t>2018 Provincial and Municipal</a:t>
            </a:r>
            <a:br>
              <a:rPr lang="en-US" sz="3100" dirty="0">
                <a:latin typeface="Century Gothic"/>
                <a:cs typeface="Century Gothic"/>
              </a:rPr>
            </a:br>
            <a:r>
              <a:rPr lang="en-US" sz="3100" dirty="0">
                <a:latin typeface="Century Gothic"/>
                <a:cs typeface="Century Gothic"/>
              </a:rPr>
              <a:t>Economic Review and Outlook</a:t>
            </a:r>
            <a:endParaRPr lang="en-ZA" sz="3100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Century Gothic"/>
                <a:cs typeface="Century Gothic"/>
              </a:rPr>
              <a:t>Presentation to Budget Committee</a:t>
            </a:r>
            <a:endParaRPr lang="en-US" b="1" dirty="0">
              <a:latin typeface="Century Gothic"/>
              <a:cs typeface="Century Gothic"/>
            </a:endParaRPr>
          </a:p>
        </p:txBody>
      </p:sp>
      <p:sp>
        <p:nvSpPr>
          <p:cNvPr id="7" name="Text Placeholder 7"/>
          <p:cNvSpPr txBox="1">
            <a:spLocks/>
          </p:cNvSpPr>
          <p:nvPr/>
        </p:nvSpPr>
        <p:spPr>
          <a:xfrm>
            <a:off x="4827839" y="5430713"/>
            <a:ext cx="1944216" cy="508552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100" b="0" kern="1200" baseline="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4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76262" y="5436568"/>
            <a:ext cx="2847586" cy="531416"/>
          </a:xfrm>
        </p:spPr>
        <p:txBody>
          <a:bodyPr>
            <a:normAutofit lnSpcReduction="10000"/>
          </a:bodyPr>
          <a:lstStyle/>
          <a:p>
            <a:r>
              <a:rPr lang="en-GB" sz="1200" dirty="0"/>
              <a:t>RH Slinger</a:t>
            </a:r>
          </a:p>
          <a:p>
            <a:r>
              <a:rPr lang="en-GB" sz="1200" dirty="0"/>
              <a:t>M Booysen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228656" y="5407849"/>
            <a:ext cx="1447800" cy="531416"/>
          </a:xfrm>
        </p:spPr>
        <p:txBody>
          <a:bodyPr>
            <a:normAutofit/>
          </a:bodyPr>
          <a:lstStyle/>
          <a:p>
            <a:r>
              <a:rPr lang="en-GB" dirty="0"/>
              <a:t>27 September 2018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2891390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ZA" dirty="0">
                <a:solidFill>
                  <a:srgbClr val="001489"/>
                </a:solidFill>
              </a:rPr>
              <a:t>Key trends in regional sectors and industri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1798" y="1557541"/>
            <a:ext cx="8597205" cy="4557509"/>
          </a:xfrm>
        </p:spPr>
        <p:txBody>
          <a:bodyPr>
            <a:noAutofit/>
          </a:bodyPr>
          <a:lstStyle/>
          <a:p>
            <a:pPr marL="228600" indent="-228600">
              <a:lnSpc>
                <a:spcPct val="12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en-ZA" dirty="0"/>
              <a:t>“halal relevant” exports: </a:t>
            </a:r>
            <a:r>
              <a:rPr lang="en-ZA" b="0" dirty="0"/>
              <a:t>The overall Western Cape exports increased from 2015 to 2017, as opposed to the slight decline from 2016 to 2017</a:t>
            </a:r>
          </a:p>
          <a:p>
            <a:pPr marL="228600" indent="-228600">
              <a:lnSpc>
                <a:spcPct val="12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en-ZA" dirty="0"/>
              <a:t>Tourism: </a:t>
            </a:r>
            <a:r>
              <a:rPr lang="en-ZA" b="0" dirty="0"/>
              <a:t>The number of jobs in the tourism sector increased by 11 292 from 2016 to 2017 while estimated GVA rose by 7.5 per cent over the same period</a:t>
            </a:r>
            <a:endParaRPr lang="en-ZA" dirty="0"/>
          </a:p>
          <a:p>
            <a:pPr marL="228600" indent="-228600">
              <a:lnSpc>
                <a:spcPct val="12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en-ZA" dirty="0"/>
              <a:t>4</a:t>
            </a:r>
            <a:r>
              <a:rPr lang="en-ZA" baseline="30000" dirty="0"/>
              <a:t>th</a:t>
            </a:r>
            <a:r>
              <a:rPr lang="en-ZA" dirty="0"/>
              <a:t> industrial revolution: </a:t>
            </a:r>
            <a:r>
              <a:rPr lang="en-US" b="0" dirty="0"/>
              <a:t>The next phase of digital disruptions will be driven by the </a:t>
            </a:r>
            <a:br>
              <a:rPr lang="en-US" b="0" dirty="0"/>
            </a:br>
            <a:r>
              <a:rPr lang="en-US" b="0" dirty="0"/>
              <a:t>4</a:t>
            </a:r>
            <a:r>
              <a:rPr lang="en-US" b="0" baseline="30000" dirty="0"/>
              <a:t>th</a:t>
            </a:r>
            <a:r>
              <a:rPr lang="en-US" b="0" dirty="0"/>
              <a:t> wave of </a:t>
            </a:r>
            <a:r>
              <a:rPr lang="en-US" b="0" dirty="0" err="1"/>
              <a:t>industrialisation</a:t>
            </a:r>
            <a:r>
              <a:rPr lang="en-US" b="0" dirty="0"/>
              <a:t> (internet of things, virtual reality, AI and robotics </a:t>
            </a:r>
            <a:r>
              <a:rPr lang="en-ZA" b="0" dirty="0"/>
              <a:t>will increasingly disrupt organisations across all sectors)</a:t>
            </a:r>
          </a:p>
          <a:p>
            <a:pPr marL="228600" indent="-228600">
              <a:lnSpc>
                <a:spcPct val="12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en-US" dirty="0"/>
              <a:t>The construction sector: </a:t>
            </a:r>
            <a:r>
              <a:rPr lang="en-US" b="0" dirty="0"/>
              <a:t>Sustains more than 181 000 jobs, providing more than </a:t>
            </a:r>
            <a:br>
              <a:rPr lang="en-US" b="0" dirty="0"/>
            </a:br>
            <a:r>
              <a:rPr lang="en-US" b="0" dirty="0" err="1"/>
              <a:t>R13</a:t>
            </a:r>
            <a:r>
              <a:rPr lang="en-US" b="0" dirty="0"/>
              <a:t> billion in salaries. A slowdown in construction activity would have a severe impact on disposable income and employment</a:t>
            </a:r>
          </a:p>
          <a:p>
            <a:pPr marL="228600" indent="-228600">
              <a:lnSpc>
                <a:spcPct val="12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en-ZA" dirty="0"/>
              <a:t>The waste economy: </a:t>
            </a:r>
            <a:r>
              <a:rPr lang="en-ZA" b="0" dirty="0"/>
              <a:t>Based on the premise that waste could potentially be a resource with economic value, the Western Cape generates an estimated </a:t>
            </a:r>
            <a:br>
              <a:rPr lang="en-ZA" b="0" dirty="0"/>
            </a:br>
            <a:r>
              <a:rPr lang="en-ZA" b="0" dirty="0"/>
              <a:t>7.7 million tonnes of waste annually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0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302748" y="998285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r>
              <a:rPr lang="en-US" sz="1800" i="1" dirty="0">
                <a:solidFill>
                  <a:schemeClr val="bg1">
                    <a:lumMod val="50000"/>
                  </a:schemeClr>
                </a:solidFill>
              </a:rPr>
              <a:t>Digital Disruptions will affect all sectors and industries</a:t>
            </a:r>
          </a:p>
        </p:txBody>
      </p:sp>
    </p:spTree>
    <p:extLst>
      <p:ext uri="{BB962C8B-B14F-4D97-AF65-F5344CB8AC3E}">
        <p14:creationId xmlns:p14="http://schemas.microsoft.com/office/powerpoint/2010/main" xmlns="" val="24310185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98682" y="1010320"/>
            <a:ext cx="8597205" cy="559256"/>
          </a:xfrm>
        </p:spPr>
        <p:txBody>
          <a:bodyPr/>
          <a:lstStyle/>
          <a:p>
            <a:r>
              <a:rPr lang="en-ZA" sz="1800" i="1" dirty="0">
                <a:solidFill>
                  <a:schemeClr val="bg1">
                    <a:lumMod val="50000"/>
                  </a:schemeClr>
                </a:solidFill>
              </a:rPr>
              <a:t>Muted labour market performanc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059899" y="6477810"/>
            <a:ext cx="4138573" cy="230832"/>
          </a:xfrm>
        </p:spPr>
        <p:txBody>
          <a:bodyPr/>
          <a:lstStyle/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94395" y="1562373"/>
            <a:ext cx="58059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Western Cape 5 </a:t>
            </a:r>
            <a:r>
              <a:rPr lang="en-US" sz="1600" b="1"/>
              <a:t>year performance, </a:t>
            </a:r>
            <a:r>
              <a:rPr lang="en-US" sz="1600" b="1" dirty="0"/>
              <a:t>2013 - 2018</a:t>
            </a:r>
          </a:p>
        </p:txBody>
      </p:sp>
      <p:sp>
        <p:nvSpPr>
          <p:cNvPr id="13" name="Text Placeholder 4"/>
          <p:cNvSpPr txBox="1">
            <a:spLocks/>
          </p:cNvSpPr>
          <p:nvPr/>
        </p:nvSpPr>
        <p:spPr>
          <a:xfrm>
            <a:off x="474881" y="5219948"/>
            <a:ext cx="8237991" cy="2016242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10000"/>
              </a:lnSpc>
              <a:tabLst>
                <a:tab pos="457200" algn="l"/>
              </a:tabLst>
            </a:pPr>
            <a:endParaRPr lang="en-US" sz="130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1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20" name="Text Placeholder 6"/>
          <p:cNvSpPr txBox="1">
            <a:spLocks noGrp="1"/>
          </p:cNvSpPr>
          <p:nvPr>
            <p:ph type="body" sz="quarter" idx="10"/>
          </p:nvPr>
        </p:nvSpPr>
        <p:spPr>
          <a:xfrm>
            <a:off x="775933" y="5764799"/>
            <a:ext cx="8272817" cy="2839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0" dirty="0"/>
              <a:t>Source: </a:t>
            </a:r>
            <a:r>
              <a:rPr lang="en-US" sz="900" b="0"/>
              <a:t>Stats SA, </a:t>
            </a:r>
            <a:r>
              <a:rPr lang="en-US" sz="900" b="0" dirty="0"/>
              <a:t>own calculations </a:t>
            </a:r>
          </a:p>
        </p:txBody>
      </p:sp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801386078"/>
              </p:ext>
            </p:extLst>
          </p:nvPr>
        </p:nvGraphicFramePr>
        <p:xfrm>
          <a:off x="474882" y="1899101"/>
          <a:ext cx="8237990" cy="4200524"/>
        </p:xfrm>
        <a:graphic>
          <a:graphicData uri="http://schemas.openxmlformats.org/drawingml/2006/table">
            <a:tbl>
              <a:tblPr/>
              <a:tblGrid>
                <a:gridCol w="476500">
                  <a:extLst>
                    <a:ext uri="{9D8B030D-6E8A-4147-A177-3AD203B41FA5}">
                      <a16:colId xmlns:a16="http://schemas.microsoft.com/office/drawing/2014/main" xmlns="" val="255538082"/>
                    </a:ext>
                  </a:extLst>
                </a:gridCol>
                <a:gridCol w="2629924">
                  <a:extLst>
                    <a:ext uri="{9D8B030D-6E8A-4147-A177-3AD203B41FA5}">
                      <a16:colId xmlns:a16="http://schemas.microsoft.com/office/drawing/2014/main" xmlns="" val="3136713707"/>
                    </a:ext>
                  </a:extLst>
                </a:gridCol>
                <a:gridCol w="1282892">
                  <a:extLst>
                    <a:ext uri="{9D8B030D-6E8A-4147-A177-3AD203B41FA5}">
                      <a16:colId xmlns:a16="http://schemas.microsoft.com/office/drawing/2014/main" xmlns="" val="728179346"/>
                    </a:ext>
                  </a:extLst>
                </a:gridCol>
                <a:gridCol w="1300692">
                  <a:extLst>
                    <a:ext uri="{9D8B030D-6E8A-4147-A177-3AD203B41FA5}">
                      <a16:colId xmlns:a16="http://schemas.microsoft.com/office/drawing/2014/main" xmlns="" val="1508562912"/>
                    </a:ext>
                  </a:extLst>
                </a:gridCol>
                <a:gridCol w="1265090">
                  <a:extLst>
                    <a:ext uri="{9D8B030D-6E8A-4147-A177-3AD203B41FA5}">
                      <a16:colId xmlns:a16="http://schemas.microsoft.com/office/drawing/2014/main" xmlns="" val="4209398677"/>
                    </a:ext>
                  </a:extLst>
                </a:gridCol>
                <a:gridCol w="1282892">
                  <a:extLst>
                    <a:ext uri="{9D8B030D-6E8A-4147-A177-3AD203B41FA5}">
                      <a16:colId xmlns:a16="http://schemas.microsoft.com/office/drawing/2014/main" xmlns="" val="315658705"/>
                    </a:ext>
                  </a:extLst>
                </a:gridCol>
              </a:tblGrid>
              <a:tr h="161536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013Q1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018Q1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9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Change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98347005"/>
                  </a:ext>
                </a:extLst>
              </a:tr>
              <a:tr h="161536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housands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housands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housands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Per cent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32098722"/>
                  </a:ext>
                </a:extLst>
              </a:tr>
              <a:tr h="161536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ESTERN CAPE</a:t>
                      </a:r>
                    </a:p>
                  </a:txBody>
                  <a:tcPr marL="4526" marR="4526" marT="452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78361035"/>
                  </a:ext>
                </a:extLst>
              </a:tr>
              <a:tr h="18504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4526" marR="4526" marT="4526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orking-age population</a:t>
                      </a:r>
                    </a:p>
                  </a:txBody>
                  <a:tcPr marL="4526" marR="4526" marT="452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4 062 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4 528 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66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2 p.a.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50520825"/>
                  </a:ext>
                </a:extLst>
              </a:tr>
              <a:tr h="18504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4526" marR="4526" marT="4526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mployment</a:t>
                      </a:r>
                    </a:p>
                  </a:txBody>
                  <a:tcPr marL="4526" marR="4526" marT="452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2 091 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2 530 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9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9 p.a.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98812639"/>
                  </a:ext>
                </a:extLst>
              </a:tr>
              <a:tr h="18504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4526" marR="4526" marT="4526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arrow unemployment</a:t>
                      </a:r>
                    </a:p>
                  </a:txBody>
                  <a:tcPr marL="4526" marR="4526" marT="452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7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0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7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2 p.a.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08201940"/>
                  </a:ext>
                </a:extLst>
              </a:tr>
              <a:tr h="18656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4526" marR="4526" marT="4526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arrow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abour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force</a:t>
                      </a:r>
                    </a:p>
                  </a:txBody>
                  <a:tcPr marL="4526" marR="4526" marT="452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2 718 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3 150 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2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0 p.a.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14976573"/>
                  </a:ext>
                </a:extLst>
              </a:tr>
              <a:tr h="18504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4526" marR="4526" marT="4526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n-searching unemployed</a:t>
                      </a:r>
                    </a:p>
                  </a:txBody>
                  <a:tcPr marL="4526" marR="4526" marT="452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5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6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4 p.a.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12582942"/>
                  </a:ext>
                </a:extLst>
              </a:tr>
              <a:tr h="18504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4526" marR="4526" marT="4526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arrow unemployment rate</a:t>
                      </a:r>
                    </a:p>
                  </a:txBody>
                  <a:tcPr marL="4526" marR="4526" marT="452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.10%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.70%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51514442"/>
                  </a:ext>
                </a:extLst>
              </a:tr>
              <a:tr h="476115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OUTH AFRICA</a:t>
                      </a:r>
                    </a:p>
                  </a:txBody>
                  <a:tcPr marL="4526" marR="4526" marT="452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.00%</a:t>
                      </a:r>
                    </a:p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.70%</a:t>
                      </a:r>
                    </a:p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61425950"/>
                  </a:ext>
                </a:extLst>
              </a:tr>
              <a:tr h="318826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WESTERN CAPE YOUTH UNEMPLOYMENT </a:t>
                      </a:r>
                    </a:p>
                    <a:p>
                      <a:pPr algn="l" rtl="0" fontAlgn="ctr"/>
                      <a:r>
                        <a:rPr lang="en-US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(15-34)</a:t>
                      </a:r>
                    </a:p>
                  </a:txBody>
                  <a:tcPr marL="4526" marR="4526" marT="452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33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37725522"/>
                  </a:ext>
                </a:extLst>
              </a:tr>
              <a:tr h="161536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4526" marR="4526" marT="4526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orking-age population</a:t>
                      </a:r>
                    </a:p>
                  </a:txBody>
                  <a:tcPr marL="4526" marR="4526" marT="452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2 033 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184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1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4 p.a.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42062048"/>
                  </a:ext>
                </a:extLst>
              </a:tr>
              <a:tr h="161536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526" marR="4526" marT="4526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mployment</a:t>
                      </a:r>
                    </a:p>
                  </a:txBody>
                  <a:tcPr marL="4526" marR="4526" marT="452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23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82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9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6 p.a.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14060022"/>
                  </a:ext>
                </a:extLst>
              </a:tr>
              <a:tr h="161536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526" marR="4526" marT="4526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arrow unemployment</a:t>
                      </a:r>
                    </a:p>
                  </a:txBody>
                  <a:tcPr marL="4526" marR="4526" marT="452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0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1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9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5 p.a.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92608678"/>
                  </a:ext>
                </a:extLst>
              </a:tr>
              <a:tr h="138046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526" marR="4526" marT="4526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arrow labour force</a:t>
                      </a:r>
                    </a:p>
                  </a:txBody>
                  <a:tcPr marL="4526" marR="4526" marT="452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33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83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0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3 p.a.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15870505"/>
                  </a:ext>
                </a:extLst>
              </a:tr>
              <a:tr h="161536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526" marR="4526" marT="4526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n-searching unemployed</a:t>
                      </a:r>
                    </a:p>
                  </a:txBody>
                  <a:tcPr marL="4526" marR="4526" marT="452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5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1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5 p.a.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92903240"/>
                  </a:ext>
                </a:extLst>
              </a:tr>
              <a:tr h="19850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4526" marR="4526" marT="4526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arrow unemployment rate</a:t>
                      </a:r>
                    </a:p>
                  </a:txBody>
                  <a:tcPr marL="4526" marR="4526" marT="452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3.20%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.00%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26" marR="4526" marT="452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9045628"/>
                  </a:ext>
                </a:extLst>
              </a:tr>
              <a:tr h="476115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OUTH AFRICA</a:t>
                      </a:r>
                    </a:p>
                  </a:txBody>
                  <a:tcPr marL="4526" marR="4526" marT="452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.20%               </a:t>
                      </a:r>
                    </a:p>
                    <a:p>
                      <a:pPr algn="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            38.20%</a:t>
                      </a:r>
                    </a:p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69753103"/>
                  </a:ext>
                </a:extLst>
              </a:tr>
              <a:tr h="158188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4526" marR="4526" marT="452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93916987"/>
                  </a:ext>
                </a:extLst>
              </a:tr>
            </a:tbl>
          </a:graphicData>
        </a:graphic>
      </p:graphicFrame>
      <p:sp>
        <p:nvSpPr>
          <p:cNvPr id="9" name="Title 3"/>
          <p:cNvSpPr txBox="1">
            <a:spLocks/>
          </p:cNvSpPr>
          <p:nvPr/>
        </p:nvSpPr>
        <p:spPr>
          <a:xfrm>
            <a:off x="295275" y="24699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r>
              <a:rPr lang="en-ZA" dirty="0">
                <a:solidFill>
                  <a:srgbClr val="001489"/>
                </a:solidFill>
              </a:rPr>
              <a:t>Labour market dynamics</a:t>
            </a:r>
          </a:p>
        </p:txBody>
      </p:sp>
    </p:spTree>
    <p:extLst>
      <p:ext uri="{BB962C8B-B14F-4D97-AF65-F5344CB8AC3E}">
        <p14:creationId xmlns:p14="http://schemas.microsoft.com/office/powerpoint/2010/main" xmlns="" val="18903669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>
            <a:noAutofit/>
          </a:bodyPr>
          <a:lstStyle/>
          <a:p>
            <a:r>
              <a:rPr lang="en-ZA" dirty="0">
                <a:solidFill>
                  <a:srgbClr val="001489"/>
                </a:solidFill>
              </a:rPr>
              <a:t>Regional socio-economic development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kern="0">
                <a:solidFill>
                  <a:srgbClr val="998F86"/>
                </a:solidFill>
              </a:rPr>
              <a:t>2018 PERO &amp; MERO Budget Committee Presentation </a:t>
            </a:r>
            <a:endParaRPr lang="en-GB" kern="0" dirty="0">
              <a:solidFill>
                <a:srgbClr val="998F86"/>
              </a:solidFill>
            </a:endParaRPr>
          </a:p>
        </p:txBody>
      </p:sp>
      <p:pic>
        <p:nvPicPr>
          <p:cNvPr id="24" name="Picture 23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8746" y="1860908"/>
            <a:ext cx="1685030" cy="1385006"/>
          </a:xfrm>
          <a:prstGeom prst="rect">
            <a:avLst/>
          </a:prstGeom>
        </p:spPr>
      </p:pic>
      <p:pic>
        <p:nvPicPr>
          <p:cNvPr id="25" name="Picture 24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89526" y="3720981"/>
            <a:ext cx="1759024" cy="1434692"/>
          </a:xfrm>
          <a:prstGeom prst="rect">
            <a:avLst/>
          </a:prstGeom>
        </p:spPr>
      </p:pic>
      <p:pic>
        <p:nvPicPr>
          <p:cNvPr id="27" name="Picture 26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35163" y="4702735"/>
            <a:ext cx="1022407" cy="869133"/>
          </a:xfrm>
          <a:prstGeom prst="rect">
            <a:avLst/>
          </a:prstGeom>
        </p:spPr>
      </p:pic>
      <p:pic>
        <p:nvPicPr>
          <p:cNvPr id="28" name="Picture 27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7679" y="4668859"/>
            <a:ext cx="1022407" cy="869133"/>
          </a:xfrm>
          <a:prstGeom prst="rect">
            <a:avLst/>
          </a:prstGeom>
        </p:spPr>
      </p:pic>
      <p:pic>
        <p:nvPicPr>
          <p:cNvPr id="29" name="Picture 28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61439" y="5256822"/>
            <a:ext cx="1013353" cy="847109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0194" y="5256822"/>
            <a:ext cx="1059890" cy="865577"/>
          </a:xfrm>
          <a:prstGeom prst="rect">
            <a:avLst/>
          </a:prstGeom>
        </p:spPr>
      </p:pic>
      <p:sp>
        <p:nvSpPr>
          <p:cNvPr id="1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411010" y="1533049"/>
            <a:ext cx="7481470" cy="4589350"/>
          </a:xfrm>
        </p:spPr>
        <p:txBody>
          <a:bodyPr>
            <a:normAutofit fontScale="85000" lnSpcReduction="20000"/>
          </a:bodyPr>
          <a:lstStyle/>
          <a:p>
            <a:pPr marL="285750" lvl="2" indent="-285750">
              <a:lnSpc>
                <a:spcPct val="140000"/>
              </a:lnSpc>
              <a:spcBef>
                <a:spcPts val="800"/>
              </a:spcBef>
              <a:buBlip>
                <a:blip r:embed="rId9"/>
              </a:buBlip>
              <a:tabLst>
                <a:tab pos="392113" algn="l"/>
              </a:tabLst>
            </a:pPr>
            <a:r>
              <a:rPr lang="en-US" dirty="0"/>
              <a:t>Population growth largely driven by migration; relatively larger older population and relatively lower dependency ratio</a:t>
            </a:r>
          </a:p>
          <a:p>
            <a:pPr marL="285750" lvl="2" indent="-285750">
              <a:lnSpc>
                <a:spcPct val="140000"/>
              </a:lnSpc>
              <a:spcBef>
                <a:spcPts val="800"/>
              </a:spcBef>
              <a:buBlip>
                <a:blip r:embed="rId9"/>
              </a:buBlip>
              <a:tabLst>
                <a:tab pos="392113" algn="l"/>
              </a:tabLst>
            </a:pPr>
            <a:r>
              <a:rPr lang="en-US" dirty="0"/>
              <a:t>Worsening inequality, but continued improvement in HDI </a:t>
            </a:r>
          </a:p>
          <a:p>
            <a:pPr marL="285750" lvl="2" indent="-285750">
              <a:lnSpc>
                <a:spcPct val="140000"/>
              </a:lnSpc>
              <a:spcBef>
                <a:spcPts val="800"/>
              </a:spcBef>
              <a:buBlip>
                <a:blip r:embed="rId9"/>
              </a:buBlip>
              <a:tabLst>
                <a:tab pos="392113" algn="l"/>
              </a:tabLst>
            </a:pPr>
            <a:r>
              <a:rPr lang="en-US" dirty="0"/>
              <a:t>Improved systemic test scores across Grades 3, 6 and 9 between 2012 and 2017</a:t>
            </a:r>
          </a:p>
          <a:p>
            <a:pPr marL="285750" lvl="2" indent="-285750">
              <a:lnSpc>
                <a:spcPct val="140000"/>
              </a:lnSpc>
              <a:spcBef>
                <a:spcPts val="800"/>
              </a:spcBef>
              <a:buBlip>
                <a:blip r:embed="rId9"/>
              </a:buBlip>
              <a:tabLst>
                <a:tab pos="392113" algn="l"/>
              </a:tabLst>
            </a:pPr>
            <a:r>
              <a:rPr lang="en-US" dirty="0"/>
              <a:t>Increase in life expectancy, maternal mortality rates improving and infant and child mortality rates lower than SA </a:t>
            </a:r>
          </a:p>
          <a:p>
            <a:pPr marL="285750" lvl="2" indent="-285750">
              <a:lnSpc>
                <a:spcPct val="140000"/>
              </a:lnSpc>
              <a:spcBef>
                <a:spcPts val="800"/>
              </a:spcBef>
              <a:buBlip>
                <a:blip r:embed="rId9"/>
              </a:buBlip>
              <a:tabLst>
                <a:tab pos="392113" algn="l"/>
              </a:tabLst>
            </a:pPr>
            <a:r>
              <a:rPr lang="en-US" dirty="0"/>
              <a:t>Improvement in testing, access to ART and treatment retention but HIV remains leading cause of death in the Province</a:t>
            </a:r>
          </a:p>
          <a:p>
            <a:pPr marL="285750" lvl="2" indent="-285750">
              <a:lnSpc>
                <a:spcPct val="140000"/>
              </a:lnSpc>
              <a:spcBef>
                <a:spcPts val="800"/>
              </a:spcBef>
              <a:buBlip>
                <a:blip r:embed="rId9"/>
              </a:buBlip>
              <a:tabLst>
                <a:tab pos="392113" algn="l"/>
              </a:tabLst>
            </a:pPr>
            <a:r>
              <a:rPr lang="en-US" dirty="0"/>
              <a:t>Housing backlog continues to grow</a:t>
            </a:r>
          </a:p>
          <a:p>
            <a:pPr marL="285750" lvl="2" indent="-285750">
              <a:lnSpc>
                <a:spcPct val="140000"/>
              </a:lnSpc>
              <a:spcBef>
                <a:spcPts val="800"/>
              </a:spcBef>
              <a:buBlip>
                <a:blip r:embed="rId9"/>
              </a:buBlip>
              <a:tabLst>
                <a:tab pos="392113" algn="l"/>
              </a:tabLst>
            </a:pPr>
            <a:r>
              <a:rPr lang="en-US" dirty="0"/>
              <a:t>Basic service provision remains relatively high</a:t>
            </a:r>
          </a:p>
          <a:p>
            <a:pPr marL="285750" lvl="2" indent="-285750">
              <a:lnSpc>
                <a:spcPct val="140000"/>
              </a:lnSpc>
              <a:spcBef>
                <a:spcPts val="800"/>
              </a:spcBef>
              <a:buBlip>
                <a:blip r:embed="rId9"/>
              </a:buBlip>
              <a:tabLst>
                <a:tab pos="392113" algn="l"/>
              </a:tabLst>
            </a:pPr>
            <a:r>
              <a:rPr lang="en-US" dirty="0"/>
              <a:t>Significant proportion of admissions for substance abuse presenting with dual diagnosis, mostly mental illness and hypertension</a:t>
            </a:r>
          </a:p>
          <a:p>
            <a:pPr marL="285750" lvl="2" indent="-285750">
              <a:lnSpc>
                <a:spcPct val="140000"/>
              </a:lnSpc>
              <a:spcBef>
                <a:spcPts val="800"/>
              </a:spcBef>
              <a:buBlip>
                <a:blip r:embed="rId9"/>
              </a:buBlip>
              <a:tabLst>
                <a:tab pos="392113" algn="l"/>
              </a:tabLst>
            </a:pPr>
            <a:r>
              <a:rPr lang="en-US" dirty="0"/>
              <a:t>Murder and attempted murder has increased but common assault and robbery with aggravated circumstances, arson and burglary have declined</a:t>
            </a:r>
          </a:p>
        </p:txBody>
      </p:sp>
      <p:pic>
        <p:nvPicPr>
          <p:cNvPr id="17" name="Picture 16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81789" y="939902"/>
            <a:ext cx="1705575" cy="1319276"/>
          </a:xfrm>
          <a:prstGeom prst="rect">
            <a:avLst/>
          </a:prstGeom>
        </p:spPr>
      </p:pic>
      <p:pic>
        <p:nvPicPr>
          <p:cNvPr id="18" name="Picture 17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35163" y="2811987"/>
            <a:ext cx="1652201" cy="1334136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2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1431675" y="982738"/>
            <a:ext cx="7712326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algn="just">
              <a:lnSpc>
                <a:spcPct val="130000"/>
              </a:lnSpc>
              <a:spcBef>
                <a:spcPts val="600"/>
              </a:spcBef>
            </a:pPr>
            <a:r>
              <a:rPr lang="en-US" sz="1800" i="1" dirty="0">
                <a:solidFill>
                  <a:schemeClr val="bg1">
                    <a:lumMod val="50000"/>
                  </a:schemeClr>
                </a:solidFill>
              </a:rPr>
              <a:t>Mixed results in respect of socio-economic indicators</a:t>
            </a:r>
          </a:p>
        </p:txBody>
      </p:sp>
    </p:spTree>
    <p:extLst>
      <p:ext uri="{BB962C8B-B14F-4D97-AF65-F5344CB8AC3E}">
        <p14:creationId xmlns:p14="http://schemas.microsoft.com/office/powerpoint/2010/main" xmlns="" val="38576547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/>
          </a:bodyPr>
          <a:lstStyle/>
          <a:p>
            <a:r>
              <a:rPr lang="en-US" dirty="0"/>
              <a:t>Municipal Economic Review and Outlook </a:t>
            </a:r>
          </a:p>
        </p:txBody>
      </p:sp>
      <p:sp>
        <p:nvSpPr>
          <p:cNvPr id="3" name="Text Placeholder 5"/>
          <p:cNvSpPr txBox="1">
            <a:spLocks/>
          </p:cNvSpPr>
          <p:nvPr/>
        </p:nvSpPr>
        <p:spPr>
          <a:xfrm>
            <a:off x="7567160" y="4873861"/>
            <a:ext cx="2847586" cy="53141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b="0" dirty="0">
                <a:solidFill>
                  <a:schemeClr val="bg1"/>
                </a:solidFill>
              </a:rPr>
              <a:t>M Booysen</a:t>
            </a:r>
          </a:p>
        </p:txBody>
      </p:sp>
    </p:spTree>
    <p:extLst>
      <p:ext uri="{BB962C8B-B14F-4D97-AF65-F5344CB8AC3E}">
        <p14:creationId xmlns:p14="http://schemas.microsoft.com/office/powerpoint/2010/main" xmlns="" val="35434065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657224"/>
          </a:xfrm>
        </p:spPr>
        <p:txBody>
          <a:bodyPr>
            <a:noAutofit/>
          </a:bodyPr>
          <a:lstStyle/>
          <a:p>
            <a:r>
              <a:rPr lang="en-ZA" dirty="0">
                <a:solidFill>
                  <a:srgbClr val="001489"/>
                </a:solidFill>
              </a:rPr>
              <a:t>Outline of the 2018 Provincial and </a:t>
            </a:r>
            <a:br>
              <a:rPr lang="en-ZA" dirty="0">
                <a:solidFill>
                  <a:srgbClr val="001489"/>
                </a:solidFill>
              </a:rPr>
            </a:br>
            <a:r>
              <a:rPr lang="en-ZA" dirty="0">
                <a:solidFill>
                  <a:srgbClr val="001489"/>
                </a:solidFill>
              </a:rPr>
              <a:t>Municipal Economic Review and Outlook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4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xmlns="" val="3784080909"/>
              </p:ext>
            </p:extLst>
          </p:nvPr>
        </p:nvGraphicFramePr>
        <p:xfrm>
          <a:off x="337120" y="1849902"/>
          <a:ext cx="8513514" cy="37320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10916199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631C46D-AB34-4D99-941F-60E443C98D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>
                <a:solidFill>
                  <a:srgbClr val="001489"/>
                </a:solidFill>
              </a:rPr>
              <a:t>Sectoral contribution per district, 2016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3314B7E-E9EF-4B7C-BC23-910824E7FC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6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E8FB3D5-7CAD-4D91-A5DF-A8918FDAD6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graphicFrame>
        <p:nvGraphicFramePr>
          <p:cNvPr id="6" name="Chart 5">
            <a:extLst/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279804037"/>
              </p:ext>
            </p:extLst>
          </p:nvPr>
        </p:nvGraphicFramePr>
        <p:xfrm>
          <a:off x="440250" y="982639"/>
          <a:ext cx="8338781" cy="51725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12969825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40032"/>
            <a:ext cx="8597205" cy="657224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rgbClr val="001489"/>
                </a:solidFill>
              </a:rPr>
              <a:t>Real GDPR growth trend growth by sector and district: </a:t>
            </a:r>
            <a:br>
              <a:rPr lang="en-US" dirty="0">
                <a:solidFill>
                  <a:srgbClr val="001489"/>
                </a:solidFill>
              </a:rPr>
            </a:br>
            <a:r>
              <a:rPr lang="en-US" dirty="0">
                <a:solidFill>
                  <a:srgbClr val="001489"/>
                </a:solidFill>
              </a:rPr>
              <a:t>2013 – 2017e</a:t>
            </a:r>
            <a:endParaRPr lang="en-ZA" dirty="0">
              <a:solidFill>
                <a:srgbClr val="001489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7</a:t>
            </a:fld>
            <a:endParaRPr lang="en-ZA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xmlns="" id="{11862CA4-5D98-4CEA-8CB6-70D34772A3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000724542"/>
              </p:ext>
            </p:extLst>
          </p:nvPr>
        </p:nvGraphicFramePr>
        <p:xfrm>
          <a:off x="369454" y="1113392"/>
          <a:ext cx="8561127" cy="4974410"/>
        </p:xfrm>
        <a:graphic>
          <a:graphicData uri="http://schemas.openxmlformats.org/drawingml/2006/table">
            <a:tbl>
              <a:tblPr firstRow="1" lastRow="1">
                <a:tableStyleId>{9DCAF9ED-07DC-4A11-8D7F-57B35C25682E}</a:tableStyleId>
              </a:tblPr>
              <a:tblGrid>
                <a:gridCol w="2653043">
                  <a:extLst>
                    <a:ext uri="{9D8B030D-6E8A-4147-A177-3AD203B41FA5}">
                      <a16:colId xmlns:a16="http://schemas.microsoft.com/office/drawing/2014/main" xmlns="" val="1867619402"/>
                    </a:ext>
                  </a:extLst>
                </a:gridCol>
                <a:gridCol w="844012">
                  <a:extLst>
                    <a:ext uri="{9D8B030D-6E8A-4147-A177-3AD203B41FA5}">
                      <a16:colId xmlns:a16="http://schemas.microsoft.com/office/drawing/2014/main" xmlns="" val="2714289244"/>
                    </a:ext>
                  </a:extLst>
                </a:gridCol>
                <a:gridCol w="844012">
                  <a:extLst>
                    <a:ext uri="{9D8B030D-6E8A-4147-A177-3AD203B41FA5}">
                      <a16:colId xmlns:a16="http://schemas.microsoft.com/office/drawing/2014/main" xmlns="" val="2487291656"/>
                    </a:ext>
                  </a:extLst>
                </a:gridCol>
                <a:gridCol w="844012">
                  <a:extLst>
                    <a:ext uri="{9D8B030D-6E8A-4147-A177-3AD203B41FA5}">
                      <a16:colId xmlns:a16="http://schemas.microsoft.com/office/drawing/2014/main" xmlns="" val="4278508375"/>
                    </a:ext>
                  </a:extLst>
                </a:gridCol>
                <a:gridCol w="844012">
                  <a:extLst>
                    <a:ext uri="{9D8B030D-6E8A-4147-A177-3AD203B41FA5}">
                      <a16:colId xmlns:a16="http://schemas.microsoft.com/office/drawing/2014/main" xmlns="" val="3071854443"/>
                    </a:ext>
                  </a:extLst>
                </a:gridCol>
                <a:gridCol w="844012">
                  <a:extLst>
                    <a:ext uri="{9D8B030D-6E8A-4147-A177-3AD203B41FA5}">
                      <a16:colId xmlns:a16="http://schemas.microsoft.com/office/drawing/2014/main" xmlns="" val="2657584454"/>
                    </a:ext>
                  </a:extLst>
                </a:gridCol>
                <a:gridCol w="844012">
                  <a:extLst>
                    <a:ext uri="{9D8B030D-6E8A-4147-A177-3AD203B41FA5}">
                      <a16:colId xmlns:a16="http://schemas.microsoft.com/office/drawing/2014/main" xmlns="" val="1760517882"/>
                    </a:ext>
                  </a:extLst>
                </a:gridCol>
                <a:gridCol w="844012">
                  <a:extLst>
                    <a:ext uri="{9D8B030D-6E8A-4147-A177-3AD203B41FA5}">
                      <a16:colId xmlns:a16="http://schemas.microsoft.com/office/drawing/2014/main" xmlns="" val="1632586370"/>
                    </a:ext>
                  </a:extLst>
                </a:gridCol>
              </a:tblGrid>
              <a:tr h="501238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 dirty="0">
                          <a:effectLst/>
                        </a:rPr>
                        <a:t>Sector</a:t>
                      </a:r>
                      <a:endParaRPr lang="en-ZA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u="none" strike="noStrike" dirty="0">
                          <a:effectLst/>
                        </a:rPr>
                        <a:t>Cape Metro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200" b="1" u="none" strike="noStrike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st Coas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u="none" strike="noStrike" dirty="0">
                          <a:effectLst/>
                        </a:rPr>
                        <a:t>Cape Winelands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u="none" strike="noStrike" dirty="0">
                          <a:effectLst/>
                        </a:rPr>
                        <a:t>Overberg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u="none" strike="noStrike" dirty="0">
                          <a:effectLst/>
                        </a:rPr>
                        <a:t>Garden Route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u="none" strike="noStrike" dirty="0">
                          <a:effectLst/>
                        </a:rPr>
                        <a:t>Central Karoo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200" b="1" u="none" strike="noStrike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stern Cap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91280805"/>
                  </a:ext>
                </a:extLst>
              </a:tr>
              <a:tr h="275771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rimary sector</a:t>
                      </a:r>
                      <a:endParaRPr lang="en-ZA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62060844"/>
                  </a:ext>
                </a:extLst>
              </a:tr>
              <a:tr h="275771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>
                          <a:effectLst/>
                        </a:rPr>
                        <a:t>Agriculture, </a:t>
                      </a:r>
                      <a:r>
                        <a:rPr lang="en-ZA" sz="1200" u="none" strike="noStrike" dirty="0">
                          <a:effectLst/>
                        </a:rPr>
                        <a:t>forestry and fishing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38848157"/>
                  </a:ext>
                </a:extLst>
              </a:tr>
              <a:tr h="275771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 dirty="0">
                          <a:effectLst/>
                        </a:rPr>
                        <a:t>Mining and quarrying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87911708"/>
                  </a:ext>
                </a:extLst>
              </a:tr>
              <a:tr h="275771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Secondary sector</a:t>
                      </a:r>
                      <a:endParaRPr lang="en-ZA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27186669"/>
                  </a:ext>
                </a:extLst>
              </a:tr>
              <a:tr h="275771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 dirty="0">
                          <a:effectLst/>
                        </a:rPr>
                        <a:t>Manufacturing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78720492"/>
                  </a:ext>
                </a:extLst>
              </a:tr>
              <a:tr h="275771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>
                          <a:effectLst/>
                        </a:rPr>
                        <a:t>Electricity, </a:t>
                      </a:r>
                      <a:r>
                        <a:rPr lang="en-ZA" sz="1200" u="none" strike="noStrike" dirty="0">
                          <a:effectLst/>
                        </a:rPr>
                        <a:t>gas and water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2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34175022"/>
                  </a:ext>
                </a:extLst>
              </a:tr>
              <a:tr h="275771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 dirty="0">
                          <a:effectLst/>
                        </a:rPr>
                        <a:t>Construction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56380602"/>
                  </a:ext>
                </a:extLst>
              </a:tr>
              <a:tr h="275771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Tertiary sector</a:t>
                      </a:r>
                      <a:endParaRPr lang="en-ZA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68250588"/>
                  </a:ext>
                </a:extLst>
              </a:tr>
              <a:tr h="501238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 dirty="0">
                          <a:effectLst/>
                        </a:rPr>
                        <a:t>Wholesale and </a:t>
                      </a:r>
                      <a:r>
                        <a:rPr lang="en-ZA" sz="1200" u="none" strike="noStrike">
                          <a:effectLst/>
                        </a:rPr>
                        <a:t>retail trade, </a:t>
                      </a:r>
                      <a:r>
                        <a:rPr lang="en-ZA" sz="1200" u="none" strike="noStrike" dirty="0">
                          <a:effectLst/>
                        </a:rPr>
                        <a:t>catering and accommodation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88489363"/>
                  </a:ext>
                </a:extLst>
              </a:tr>
              <a:tr h="356985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>
                          <a:effectLst/>
                        </a:rPr>
                        <a:t>Transport, </a:t>
                      </a:r>
                      <a:r>
                        <a:rPr lang="en-ZA" sz="1200" u="none" strike="noStrike" dirty="0">
                          <a:effectLst/>
                        </a:rPr>
                        <a:t>storage and communication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35442570"/>
                  </a:ext>
                </a:extLst>
              </a:tr>
              <a:tr h="413714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>
                          <a:effectLst/>
                        </a:rPr>
                        <a:t>Finance, insurance, </a:t>
                      </a:r>
                      <a:r>
                        <a:rPr lang="en-ZA" sz="1200" u="none" strike="noStrike" dirty="0">
                          <a:effectLst/>
                        </a:rPr>
                        <a:t>real estate and business services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46933451"/>
                  </a:ext>
                </a:extLst>
              </a:tr>
              <a:tr h="275771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 dirty="0">
                          <a:effectLst/>
                        </a:rPr>
                        <a:t>General government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99999818"/>
                  </a:ext>
                </a:extLst>
              </a:tr>
              <a:tr h="356985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>
                          <a:effectLst/>
                        </a:rPr>
                        <a:t>Community, </a:t>
                      </a:r>
                      <a:r>
                        <a:rPr lang="en-ZA" sz="1200" u="none" strike="noStrike" dirty="0">
                          <a:effectLst/>
                        </a:rPr>
                        <a:t>social and personal services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57602214"/>
                  </a:ext>
                </a:extLst>
              </a:tr>
              <a:tr h="344761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 GDPR growth</a:t>
                      </a:r>
                    </a:p>
                  </a:txBody>
                  <a:tcPr marL="4572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60813970"/>
                  </a:ext>
                </a:extLst>
              </a:tr>
            </a:tbl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/>
              <a:t>2018 PERO &amp; MERO Budget Committee Presentation </a:t>
            </a:r>
            <a:endParaRPr lang="en-GB" dirty="0"/>
          </a:p>
        </p:txBody>
      </p:sp>
      <p:sp>
        <p:nvSpPr>
          <p:cNvPr id="5" name="Oval 4"/>
          <p:cNvSpPr/>
          <p:nvPr/>
        </p:nvSpPr>
        <p:spPr>
          <a:xfrm>
            <a:off x="4343400" y="1981200"/>
            <a:ext cx="381000" cy="228600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  <p:sp>
        <p:nvSpPr>
          <p:cNvPr id="10" name="Oval 9"/>
          <p:cNvSpPr/>
          <p:nvPr/>
        </p:nvSpPr>
        <p:spPr>
          <a:xfrm>
            <a:off x="3166341" y="1869671"/>
            <a:ext cx="533400" cy="34012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xmlns="" id="{809CF8BF-F028-4DE6-BBAE-4F05AD1148A8}"/>
              </a:ext>
            </a:extLst>
          </p:cNvPr>
          <p:cNvSpPr/>
          <p:nvPr/>
        </p:nvSpPr>
        <p:spPr>
          <a:xfrm>
            <a:off x="5654279" y="2692148"/>
            <a:ext cx="533400" cy="34012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755F7FDA-89F2-4E92-B907-E23687600195}"/>
              </a:ext>
            </a:extLst>
          </p:cNvPr>
          <p:cNvSpPr/>
          <p:nvPr/>
        </p:nvSpPr>
        <p:spPr>
          <a:xfrm>
            <a:off x="4845050" y="3231893"/>
            <a:ext cx="533400" cy="34012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C92ACFC3-F92E-4CF7-8B9E-4A1E1784529D}"/>
              </a:ext>
            </a:extLst>
          </p:cNvPr>
          <p:cNvSpPr/>
          <p:nvPr/>
        </p:nvSpPr>
        <p:spPr>
          <a:xfrm>
            <a:off x="4787900" y="3909389"/>
            <a:ext cx="533400" cy="34012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F87F7A1D-D6A8-407D-B3C9-8C6E03483BE2}"/>
              </a:ext>
            </a:extLst>
          </p:cNvPr>
          <p:cNvSpPr/>
          <p:nvPr/>
        </p:nvSpPr>
        <p:spPr>
          <a:xfrm>
            <a:off x="5654279" y="4333170"/>
            <a:ext cx="533400" cy="34012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xmlns="" id="{933F820C-AC6D-49C9-8EEE-1C65F2C2FF4E}"/>
              </a:ext>
            </a:extLst>
          </p:cNvPr>
          <p:cNvSpPr/>
          <p:nvPr/>
        </p:nvSpPr>
        <p:spPr>
          <a:xfrm>
            <a:off x="7357072" y="5068788"/>
            <a:ext cx="533400" cy="34012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xmlns="" id="{02B88804-1296-4B66-ABEA-57135CC6491A}"/>
              </a:ext>
            </a:extLst>
          </p:cNvPr>
          <p:cNvSpPr/>
          <p:nvPr/>
        </p:nvSpPr>
        <p:spPr>
          <a:xfrm>
            <a:off x="3943891" y="5391356"/>
            <a:ext cx="533400" cy="34012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</p:spTree>
    <p:extLst>
      <p:ext uri="{BB962C8B-B14F-4D97-AF65-F5344CB8AC3E}">
        <p14:creationId xmlns:p14="http://schemas.microsoft.com/office/powerpoint/2010/main" xmlns="" val="348228183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262864"/>
            <a:ext cx="8597205" cy="559256"/>
          </a:xfrm>
        </p:spPr>
        <p:txBody>
          <a:bodyPr/>
          <a:lstStyle/>
          <a:p>
            <a:r>
              <a:rPr lang="en-US" dirty="0">
                <a:solidFill>
                  <a:srgbClr val="001489"/>
                </a:solidFill>
              </a:rPr>
              <a:t>GDPR forecast per district, 2018 - 2019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b="0" i="0" u="none" strike="noStrike" kern="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ZA" b="0" i="0" u="none" strike="noStrike" kern="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graphicFrame>
        <p:nvGraphicFramePr>
          <p:cNvPr id="7" name="Table 6">
            <a:extLst/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59392233"/>
              </p:ext>
            </p:extLst>
          </p:nvPr>
        </p:nvGraphicFramePr>
        <p:xfrm>
          <a:off x="377128" y="1474835"/>
          <a:ext cx="8515352" cy="4247470"/>
        </p:xfrm>
        <a:graphic>
          <a:graphicData uri="http://schemas.openxmlformats.org/drawingml/2006/table">
            <a:tbl>
              <a:tblPr firstRow="1" lastRow="1">
                <a:tableStyleId>{9DCAF9ED-07DC-4A11-8D7F-57B35C25682E}</a:tableStyleId>
              </a:tblPr>
              <a:tblGrid>
                <a:gridCol w="3270947">
                  <a:extLst>
                    <a:ext uri="{9D8B030D-6E8A-4147-A177-3AD203B41FA5}">
                      <a16:colId xmlns:a16="http://schemas.microsoft.com/office/drawing/2014/main" xmlns="" val="1867619402"/>
                    </a:ext>
                  </a:extLst>
                </a:gridCol>
                <a:gridCol w="1748135">
                  <a:extLst>
                    <a:ext uri="{9D8B030D-6E8A-4147-A177-3AD203B41FA5}">
                      <a16:colId xmlns:a16="http://schemas.microsoft.com/office/drawing/2014/main" xmlns="" val="2714289244"/>
                    </a:ext>
                  </a:extLst>
                </a:gridCol>
                <a:gridCol w="1748135">
                  <a:extLst>
                    <a:ext uri="{9D8B030D-6E8A-4147-A177-3AD203B41FA5}">
                      <a16:colId xmlns:a16="http://schemas.microsoft.com/office/drawing/2014/main" xmlns="" val="2487291656"/>
                    </a:ext>
                  </a:extLst>
                </a:gridCol>
                <a:gridCol w="1748135">
                  <a:extLst>
                    <a:ext uri="{9D8B030D-6E8A-4147-A177-3AD203B41FA5}">
                      <a16:colId xmlns:a16="http://schemas.microsoft.com/office/drawing/2014/main" xmlns="" val="4278508375"/>
                    </a:ext>
                  </a:extLst>
                </a:gridCol>
              </a:tblGrid>
              <a:tr h="754015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 dirty="0">
                          <a:effectLst/>
                        </a:rPr>
                        <a:t> </a:t>
                      </a:r>
                      <a:r>
                        <a:rPr lang="en-ZA" sz="1600" u="none" strike="noStrike" dirty="0">
                          <a:effectLst/>
                        </a:rPr>
                        <a:t>District</a:t>
                      </a:r>
                      <a:endParaRPr lang="en-ZA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600" b="1" u="none" strike="noStrike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7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600" b="1" u="none" strike="noStrike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8f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600" b="1" u="none" strike="noStrike" kern="120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9f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91280805"/>
                  </a:ext>
                </a:extLst>
              </a:tr>
              <a:tr h="499065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 dirty="0">
                          <a:effectLst/>
                        </a:rPr>
                        <a:t>  Cape Metro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38848157"/>
                  </a:ext>
                </a:extLst>
              </a:tr>
              <a:tr h="499065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 West Coast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4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87911708"/>
                  </a:ext>
                </a:extLst>
              </a:tr>
              <a:tr h="499065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 dirty="0">
                          <a:effectLst/>
                        </a:rPr>
                        <a:t>  Cape Winelands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78720492"/>
                  </a:ext>
                </a:extLst>
              </a:tr>
              <a:tr h="499065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 Overberg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0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34175022"/>
                  </a:ext>
                </a:extLst>
              </a:tr>
              <a:tr h="499065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 Garden</a:t>
                      </a:r>
                      <a:r>
                        <a:rPr lang="en-ZA" sz="1200" b="0" i="0" u="none" strike="noStrike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Route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56380602"/>
                  </a:ext>
                </a:extLst>
              </a:tr>
              <a:tr h="499065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 dirty="0">
                          <a:effectLst/>
                        </a:rPr>
                        <a:t>  Central Karoo </a:t>
                      </a:r>
                      <a:endParaRPr lang="en-ZA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3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88489363"/>
                  </a:ext>
                </a:extLst>
              </a:tr>
              <a:tr h="499065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Western Cape</a:t>
                      </a:r>
                    </a:p>
                  </a:txBody>
                  <a:tcPr marL="4572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.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0.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.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608139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1827276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5238919-2331-49CB-9822-26508FC942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>
                <a:solidFill>
                  <a:srgbClr val="001489"/>
                </a:solidFill>
              </a:rPr>
              <a:t>Agriculture sector trend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64DF30F5-D7C2-4B5D-81F6-C4ABAD14A4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b="0" i="0" u="none" strike="noStrike" kern="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ZA" b="0" i="0" u="none" strike="noStrike" kern="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66472102-6AFE-4F36-A62D-C148646090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lvl="0" defTabSz="914400">
              <a:defRPr/>
            </a:pPr>
            <a:r>
              <a:rPr lang="en-ZA" kern="0" dirty="0">
                <a:solidFill>
                  <a:srgbClr val="998F86"/>
                </a:solidFill>
              </a:rPr>
              <a:t>2018 PERO &amp; MERO Budget Committee Presentation </a:t>
            </a:r>
            <a:endParaRPr kumimoji="0" lang="en-GB" b="0" i="0" u="none" strike="noStrike" kern="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6DCBC0F1-F1F2-472F-8324-DF1E34DD216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dirty="0"/>
              <a:t>Important sector for:</a:t>
            </a:r>
          </a:p>
          <a:p>
            <a:endParaRPr lang="en-ZA" dirty="0"/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xmlns="" id="{53882ABA-1E50-4CC6-B594-44A73129F29B}"/>
              </a:ext>
            </a:extLst>
          </p:cNvPr>
          <p:cNvGraphicFramePr/>
          <p:nvPr>
            <p:extLst/>
          </p:nvPr>
        </p:nvGraphicFramePr>
        <p:xfrm>
          <a:off x="3072100" y="1010504"/>
          <a:ext cx="6379112" cy="9864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xmlns="" id="{F6A5874D-7F2C-4F13-BF18-B17C94C73D2A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51520" y="2183180"/>
          <a:ext cx="8650060" cy="3695105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631871">
                  <a:extLst>
                    <a:ext uri="{9D8B030D-6E8A-4147-A177-3AD203B41FA5}">
                      <a16:colId xmlns:a16="http://schemas.microsoft.com/office/drawing/2014/main" xmlns="" val="3051574597"/>
                    </a:ext>
                  </a:extLst>
                </a:gridCol>
                <a:gridCol w="4134836">
                  <a:extLst>
                    <a:ext uri="{9D8B030D-6E8A-4147-A177-3AD203B41FA5}">
                      <a16:colId xmlns:a16="http://schemas.microsoft.com/office/drawing/2014/main" xmlns="" val="1872445390"/>
                    </a:ext>
                  </a:extLst>
                </a:gridCol>
                <a:gridCol w="2883353">
                  <a:extLst>
                    <a:ext uri="{9D8B030D-6E8A-4147-A177-3AD203B41FA5}">
                      <a16:colId xmlns:a16="http://schemas.microsoft.com/office/drawing/2014/main" xmlns="" val="359622907"/>
                    </a:ext>
                  </a:extLst>
                </a:gridCol>
              </a:tblGrid>
              <a:tr h="536023">
                <a:tc>
                  <a:txBody>
                    <a:bodyPr/>
                    <a:lstStyle/>
                    <a:p>
                      <a:endParaRPr lang="en-ZA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/>
                        <a:t>Top Crop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/>
                        <a:t>Net change in total hectares under production (2013 vs 2017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619097405"/>
                  </a:ext>
                </a:extLst>
              </a:tr>
              <a:tr h="507899">
                <a:tc>
                  <a:txBody>
                    <a:bodyPr/>
                    <a:lstStyle/>
                    <a:p>
                      <a:r>
                        <a:rPr lang="en-ZA" sz="1200" dirty="0"/>
                        <a:t>Cape Metr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/>
                        <a:t>Wheat, pastures, canola, wine grapes, </a:t>
                      </a:r>
                      <a:r>
                        <a:rPr lang="en-ZA" sz="1200" dirty="0"/>
                        <a:t>vegetable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14400" lvl="2" indent="0" algn="l"/>
                      <a:r>
                        <a:rPr lang="en-ZA" sz="1200" dirty="0"/>
                        <a:t>(wheat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28977753"/>
                  </a:ext>
                </a:extLst>
              </a:tr>
              <a:tr h="535821">
                <a:tc>
                  <a:txBody>
                    <a:bodyPr/>
                    <a:lstStyle/>
                    <a:p>
                      <a:r>
                        <a:rPr lang="en-ZA" sz="1200" dirty="0"/>
                        <a:t>West Coa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/>
                        <a:t>Wheat, </a:t>
                      </a:r>
                      <a:r>
                        <a:rPr lang="en-ZA" sz="1200" dirty="0"/>
                        <a:t>small grains </a:t>
                      </a:r>
                      <a:r>
                        <a:rPr lang="en-ZA" sz="1200"/>
                        <a:t>for grazing, pastures, rooibos, </a:t>
                      </a:r>
                      <a:r>
                        <a:rPr lang="en-ZA" sz="1200" dirty="0"/>
                        <a:t>wine grap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2"/>
                      <a:r>
                        <a:rPr lang="en-ZA" sz="1200" dirty="0"/>
                        <a:t>(</a:t>
                      </a:r>
                      <a:r>
                        <a:rPr lang="en-ZA" sz="1200"/>
                        <a:t>rooibos tea, canola, </a:t>
                      </a:r>
                      <a:r>
                        <a:rPr lang="en-ZA" sz="1200" dirty="0"/>
                        <a:t>wheat)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51580832"/>
                  </a:ext>
                </a:extLst>
              </a:tr>
              <a:tr h="535821">
                <a:tc>
                  <a:txBody>
                    <a:bodyPr/>
                    <a:lstStyle/>
                    <a:p>
                      <a:r>
                        <a:rPr lang="en-ZA" sz="1200" dirty="0"/>
                        <a:t>Cape Winelan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/>
                        <a:t>Wine grapes, pastures, wheat, </a:t>
                      </a:r>
                      <a:r>
                        <a:rPr lang="en-ZA" sz="1200" dirty="0"/>
                        <a:t>small grains </a:t>
                      </a:r>
                      <a:r>
                        <a:rPr lang="en-ZA" sz="1200"/>
                        <a:t>for grazing, apples, pears, </a:t>
                      </a:r>
                      <a:r>
                        <a:rPr lang="en-ZA" sz="1200" dirty="0"/>
                        <a:t>stone fru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2"/>
                      <a:r>
                        <a:rPr lang="en-ZA" sz="1200" dirty="0"/>
                        <a:t>(</a:t>
                      </a:r>
                      <a:r>
                        <a:rPr lang="en-ZA" sz="1200"/>
                        <a:t>wine grapes,  </a:t>
                      </a:r>
                      <a:r>
                        <a:rPr lang="en-ZA" sz="1200" dirty="0"/>
                        <a:t>vegetable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0095466"/>
                  </a:ext>
                </a:extLst>
              </a:tr>
              <a:tr h="535821">
                <a:tc>
                  <a:txBody>
                    <a:bodyPr/>
                    <a:lstStyle/>
                    <a:p>
                      <a:r>
                        <a:rPr lang="en-ZA" sz="1200" dirty="0"/>
                        <a:t>Overber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/>
                        <a:t>Wheat, barley, canola, </a:t>
                      </a:r>
                      <a:r>
                        <a:rPr lang="en-ZA" sz="1200" dirty="0"/>
                        <a:t>small grains </a:t>
                      </a:r>
                      <a:r>
                        <a:rPr lang="en-ZA" sz="1200"/>
                        <a:t>for grazing, pastures, apples, </a:t>
                      </a:r>
                      <a:r>
                        <a:rPr lang="en-ZA" sz="1200" dirty="0"/>
                        <a:t>pea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2"/>
                      <a:r>
                        <a:rPr lang="en-ZA" sz="1200"/>
                        <a:t>(vegetables, stone fruit, </a:t>
                      </a:r>
                      <a:r>
                        <a:rPr lang="en-ZA" sz="1200" dirty="0"/>
                        <a:t>wine grape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81128126"/>
                  </a:ext>
                </a:extLst>
              </a:tr>
              <a:tr h="535821">
                <a:tc>
                  <a:txBody>
                    <a:bodyPr/>
                    <a:lstStyle/>
                    <a:p>
                      <a:r>
                        <a:rPr lang="en-ZA" sz="1200" dirty="0"/>
                        <a:t>Garden Rou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/>
                        <a:t>Pastures, wheat, </a:t>
                      </a:r>
                      <a:r>
                        <a:rPr lang="en-ZA" sz="1200" dirty="0"/>
                        <a:t>small grains </a:t>
                      </a:r>
                      <a:r>
                        <a:rPr lang="en-ZA" sz="1200"/>
                        <a:t>for grazing, canola, </a:t>
                      </a:r>
                      <a:r>
                        <a:rPr lang="en-ZA" sz="1200" dirty="0"/>
                        <a:t>barle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2"/>
                      <a:r>
                        <a:rPr lang="en-ZA" sz="1200" dirty="0"/>
                        <a:t>(wheat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638092232"/>
                  </a:ext>
                </a:extLst>
              </a:tr>
              <a:tr h="507899">
                <a:tc>
                  <a:txBody>
                    <a:bodyPr/>
                    <a:lstStyle/>
                    <a:p>
                      <a:r>
                        <a:rPr lang="en-ZA" sz="1200" dirty="0"/>
                        <a:t>Central Karo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200"/>
                        <a:t>Pastures, olives, </a:t>
                      </a:r>
                      <a:r>
                        <a:rPr lang="en-ZA" sz="1200" dirty="0"/>
                        <a:t>vegetab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2"/>
                      <a:r>
                        <a:rPr lang="en-ZA" sz="1200"/>
                        <a:t>(maize, </a:t>
                      </a:r>
                      <a:r>
                        <a:rPr lang="en-ZA" sz="1200" dirty="0"/>
                        <a:t>wine grape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93476287"/>
                  </a:ext>
                </a:extLst>
              </a:tr>
            </a:tbl>
          </a:graphicData>
        </a:graphic>
      </p:graphicFrame>
      <p:sp>
        <p:nvSpPr>
          <p:cNvPr id="10" name="Arrow: Up 9">
            <a:extLst>
              <a:ext uri="{FF2B5EF4-FFF2-40B4-BE49-F238E27FC236}">
                <a16:creationId xmlns:a16="http://schemas.microsoft.com/office/drawing/2014/main" xmlns="" id="{3907DD1C-64FD-4622-A2B9-51F430D2BC86}"/>
              </a:ext>
            </a:extLst>
          </p:cNvPr>
          <p:cNvSpPr/>
          <p:nvPr/>
        </p:nvSpPr>
        <p:spPr>
          <a:xfrm>
            <a:off x="6643527" y="2845841"/>
            <a:ext cx="272956" cy="345076"/>
          </a:xfrm>
          <a:prstGeom prst="up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1" name="Arrow: Up 10">
            <a:extLst>
              <a:ext uri="{FF2B5EF4-FFF2-40B4-BE49-F238E27FC236}">
                <a16:creationId xmlns:a16="http://schemas.microsoft.com/office/drawing/2014/main" xmlns="" id="{6674A34F-BD74-4356-A19A-7921356217B8}"/>
              </a:ext>
            </a:extLst>
          </p:cNvPr>
          <p:cNvSpPr/>
          <p:nvPr/>
        </p:nvSpPr>
        <p:spPr>
          <a:xfrm>
            <a:off x="6643527" y="3318380"/>
            <a:ext cx="272956" cy="345076"/>
          </a:xfrm>
          <a:prstGeom prst="up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Arrow: Up 11">
            <a:extLst>
              <a:ext uri="{FF2B5EF4-FFF2-40B4-BE49-F238E27FC236}">
                <a16:creationId xmlns:a16="http://schemas.microsoft.com/office/drawing/2014/main" xmlns="" id="{11CEED62-E3C3-4FAC-A7FC-709D0FE72AD9}"/>
              </a:ext>
            </a:extLst>
          </p:cNvPr>
          <p:cNvSpPr/>
          <p:nvPr/>
        </p:nvSpPr>
        <p:spPr>
          <a:xfrm rot="10800000">
            <a:off x="6626797" y="3863187"/>
            <a:ext cx="272956" cy="345076"/>
          </a:xfrm>
          <a:prstGeom prst="up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" name="Arrow: Up 12">
            <a:extLst>
              <a:ext uri="{FF2B5EF4-FFF2-40B4-BE49-F238E27FC236}">
                <a16:creationId xmlns:a16="http://schemas.microsoft.com/office/drawing/2014/main" xmlns="" id="{D53727F4-EEBA-4DDB-B238-79835C401202}"/>
              </a:ext>
            </a:extLst>
          </p:cNvPr>
          <p:cNvSpPr/>
          <p:nvPr/>
        </p:nvSpPr>
        <p:spPr>
          <a:xfrm rot="10800000">
            <a:off x="6643527" y="4407994"/>
            <a:ext cx="272956" cy="345076"/>
          </a:xfrm>
          <a:prstGeom prst="up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Arrow: Up 13">
            <a:extLst>
              <a:ext uri="{FF2B5EF4-FFF2-40B4-BE49-F238E27FC236}">
                <a16:creationId xmlns:a16="http://schemas.microsoft.com/office/drawing/2014/main" xmlns="" id="{0113CD77-3509-47DE-A11D-EFECF1D04B2C}"/>
              </a:ext>
            </a:extLst>
          </p:cNvPr>
          <p:cNvSpPr/>
          <p:nvPr/>
        </p:nvSpPr>
        <p:spPr>
          <a:xfrm>
            <a:off x="6645801" y="4943220"/>
            <a:ext cx="272956" cy="345076"/>
          </a:xfrm>
          <a:prstGeom prst="up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5" name="Arrow: Up 14">
            <a:extLst>
              <a:ext uri="{FF2B5EF4-FFF2-40B4-BE49-F238E27FC236}">
                <a16:creationId xmlns:a16="http://schemas.microsoft.com/office/drawing/2014/main" xmlns="" id="{4D37BE1A-F76B-4665-8926-8A49056EAA5D}"/>
              </a:ext>
            </a:extLst>
          </p:cNvPr>
          <p:cNvSpPr/>
          <p:nvPr/>
        </p:nvSpPr>
        <p:spPr>
          <a:xfrm rot="10800000">
            <a:off x="6643525" y="5398446"/>
            <a:ext cx="272956" cy="345076"/>
          </a:xfrm>
          <a:prstGeom prst="up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901905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Background </a:t>
            </a:r>
          </a:p>
        </p:txBody>
      </p:sp>
      <p:sp>
        <p:nvSpPr>
          <p:cNvPr id="3" name="Text Placeholder 5"/>
          <p:cNvSpPr txBox="1">
            <a:spLocks/>
          </p:cNvSpPr>
          <p:nvPr/>
        </p:nvSpPr>
        <p:spPr>
          <a:xfrm>
            <a:off x="7567160" y="4873861"/>
            <a:ext cx="2847586" cy="53141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b="0" dirty="0">
                <a:solidFill>
                  <a:schemeClr val="bg1"/>
                </a:solidFill>
              </a:rPr>
              <a:t>RH Slinger</a:t>
            </a:r>
          </a:p>
        </p:txBody>
      </p:sp>
    </p:spTree>
    <p:extLst>
      <p:ext uri="{BB962C8B-B14F-4D97-AF65-F5344CB8AC3E}">
        <p14:creationId xmlns:p14="http://schemas.microsoft.com/office/powerpoint/2010/main" xmlns="" val="33534987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>
            <a:noAutofit/>
          </a:bodyPr>
          <a:lstStyle/>
          <a:p>
            <a:r>
              <a:rPr lang="en-ZA" dirty="0">
                <a:solidFill>
                  <a:srgbClr val="001489"/>
                </a:solidFill>
              </a:rPr>
              <a:t>Infrastructure Investment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kern="0">
                <a:solidFill>
                  <a:srgbClr val="998F86"/>
                </a:solidFill>
              </a:rPr>
              <a:t>2018 PERO &amp; MERO Budget Committee Presentation </a:t>
            </a:r>
            <a:endParaRPr lang="en-GB" kern="0" dirty="0">
              <a:solidFill>
                <a:srgbClr val="998F86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20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4" y="1145956"/>
            <a:ext cx="8597205" cy="4687870"/>
          </a:xfrm>
        </p:spPr>
        <p:txBody>
          <a:bodyPr>
            <a:normAutofit/>
          </a:bodyPr>
          <a:lstStyle/>
          <a:p>
            <a:pPr marL="236538" lvl="1" indent="-236538">
              <a:lnSpc>
                <a:spcPct val="120000"/>
              </a:lnSpc>
              <a:spcBef>
                <a:spcPts val="1200"/>
              </a:spcBef>
            </a:pPr>
            <a:r>
              <a:rPr lang="en-ZA" dirty="0">
                <a:solidFill>
                  <a:prstClr val="black"/>
                </a:solidFill>
              </a:rPr>
              <a:t>Western Cape Government Strategy: </a:t>
            </a:r>
            <a:r>
              <a:rPr lang="en-ZA" b="1" dirty="0">
                <a:solidFill>
                  <a:schemeClr val="tx2"/>
                </a:solidFill>
              </a:rPr>
              <a:t>Enhanced investment in </a:t>
            </a:r>
            <a:r>
              <a:rPr lang="en-US" b="1" dirty="0" err="1">
                <a:solidFill>
                  <a:schemeClr val="tx2"/>
                </a:solidFill>
              </a:rPr>
              <a:t>organisational</a:t>
            </a:r>
            <a:r>
              <a:rPr lang="en-US" b="1" dirty="0">
                <a:solidFill>
                  <a:schemeClr val="tx2"/>
                </a:solidFill>
              </a:rPr>
              <a:t>, economic and social infrastructure investment</a:t>
            </a:r>
            <a:r>
              <a:rPr lang="en-US" dirty="0">
                <a:solidFill>
                  <a:prstClr val="black"/>
                </a:solidFill>
              </a:rPr>
              <a:t> serves as catalyst for growth</a:t>
            </a:r>
          </a:p>
          <a:p>
            <a:pPr marL="236538" lvl="1" indent="-236538">
              <a:lnSpc>
                <a:spcPct val="120000"/>
              </a:lnSpc>
              <a:spcBef>
                <a:spcPts val="1200"/>
              </a:spcBef>
            </a:pPr>
            <a:r>
              <a:rPr lang="en-ZA" b="1" dirty="0">
                <a:solidFill>
                  <a:schemeClr val="tx2"/>
                </a:solidFill>
              </a:rPr>
              <a:t>Collective and collaborative investment unlocks growth</a:t>
            </a:r>
            <a:r>
              <a:rPr lang="en-ZA" dirty="0">
                <a:solidFill>
                  <a:prstClr val="black"/>
                </a:solidFill>
              </a:rPr>
              <a:t>: Provincial investment complimented by </a:t>
            </a:r>
            <a:r>
              <a:rPr lang="en-ZA" b="1" dirty="0">
                <a:solidFill>
                  <a:schemeClr val="tx2"/>
                </a:solidFill>
              </a:rPr>
              <a:t>municipal capital expenditure</a:t>
            </a:r>
          </a:p>
          <a:p>
            <a:pPr marL="236538" lvl="1" indent="-236538">
              <a:lnSpc>
                <a:spcPct val="120000"/>
              </a:lnSpc>
              <a:spcBef>
                <a:spcPts val="1200"/>
              </a:spcBef>
            </a:pPr>
            <a:r>
              <a:rPr lang="en-ZA" dirty="0">
                <a:solidFill>
                  <a:prstClr val="black"/>
                </a:solidFill>
              </a:rPr>
              <a:t>Municipal spend strong focus on basic service delivery infrastructure</a:t>
            </a:r>
          </a:p>
          <a:p>
            <a:pPr marL="236538" lvl="1" indent="-236538">
              <a:lnSpc>
                <a:spcPct val="120000"/>
              </a:lnSpc>
              <a:spcBef>
                <a:spcPts val="1200"/>
              </a:spcBef>
            </a:pPr>
            <a:r>
              <a:rPr lang="en-ZA" b="1" dirty="0">
                <a:solidFill>
                  <a:schemeClr val="tx2"/>
                </a:solidFill>
              </a:rPr>
              <a:t>HOWEVER</a:t>
            </a:r>
            <a:r>
              <a:rPr lang="en-ZA" dirty="0">
                <a:solidFill>
                  <a:prstClr val="black"/>
                </a:solidFill>
              </a:rPr>
              <a:t>, capital budgets to large extent </a:t>
            </a:r>
            <a:r>
              <a:rPr lang="en-ZA" b="1" dirty="0">
                <a:solidFill>
                  <a:schemeClr val="tx2"/>
                </a:solidFill>
              </a:rPr>
              <a:t>reliant on support from Provincial and National Government</a:t>
            </a:r>
            <a:endParaRPr lang="en-ZA" dirty="0">
              <a:solidFill>
                <a:prstClr val="black"/>
              </a:solidFill>
            </a:endParaRPr>
          </a:p>
          <a:p>
            <a:pPr marL="236538" lvl="1" indent="-236538">
              <a:lnSpc>
                <a:spcPct val="120000"/>
              </a:lnSpc>
              <a:spcBef>
                <a:spcPts val="1200"/>
              </a:spcBef>
            </a:pPr>
            <a:r>
              <a:rPr lang="en-ZA" dirty="0">
                <a:solidFill>
                  <a:prstClr val="black"/>
                </a:solidFill>
              </a:rPr>
              <a:t>Impact of </a:t>
            </a:r>
            <a:r>
              <a:rPr lang="en-ZA" b="1" dirty="0">
                <a:solidFill>
                  <a:schemeClr val="tx2"/>
                </a:solidFill>
              </a:rPr>
              <a:t>constraining macro-economic environment </a:t>
            </a:r>
            <a:r>
              <a:rPr lang="en-ZA" dirty="0">
                <a:solidFill>
                  <a:prstClr val="black"/>
                </a:solidFill>
              </a:rPr>
              <a:t>on grants and transfers, in turn impact on basic service delivery</a:t>
            </a:r>
          </a:p>
          <a:p>
            <a:pPr marL="236538" lvl="1" indent="-236538">
              <a:lnSpc>
                <a:spcPct val="120000"/>
              </a:lnSpc>
              <a:spcBef>
                <a:spcPts val="1200"/>
              </a:spcBef>
            </a:pPr>
            <a:r>
              <a:rPr lang="en-ZA" dirty="0">
                <a:solidFill>
                  <a:prstClr val="black"/>
                </a:solidFill>
              </a:rPr>
              <a:t>Necessitate </a:t>
            </a:r>
            <a:r>
              <a:rPr lang="en-ZA" b="1" dirty="0">
                <a:solidFill>
                  <a:schemeClr val="tx2"/>
                </a:solidFill>
              </a:rPr>
              <a:t>need for local government to diversify funding mix</a:t>
            </a:r>
          </a:p>
          <a:p>
            <a:pPr marL="236538" lvl="1" indent="-236538">
              <a:lnSpc>
                <a:spcPct val="120000"/>
              </a:lnSpc>
              <a:spcBef>
                <a:spcPts val="1200"/>
              </a:spcBef>
            </a:pPr>
            <a:r>
              <a:rPr lang="en-ZA" b="1" dirty="0">
                <a:solidFill>
                  <a:schemeClr val="tx2"/>
                </a:solidFill>
              </a:rPr>
              <a:t>Quantity</a:t>
            </a:r>
            <a:r>
              <a:rPr lang="en-ZA" dirty="0">
                <a:solidFill>
                  <a:prstClr val="black"/>
                </a:solidFill>
              </a:rPr>
              <a:t> vs </a:t>
            </a:r>
            <a:r>
              <a:rPr lang="en-ZA" b="1" dirty="0">
                <a:solidFill>
                  <a:schemeClr val="tx2"/>
                </a:solidFill>
              </a:rPr>
              <a:t>Quality</a:t>
            </a:r>
            <a:r>
              <a:rPr lang="en-ZA" dirty="0">
                <a:solidFill>
                  <a:prstClr val="black"/>
                </a:solidFill>
              </a:rPr>
              <a:t> Infrastructure spend: </a:t>
            </a:r>
            <a:r>
              <a:rPr lang="en-ZA" b="1" dirty="0">
                <a:solidFill>
                  <a:schemeClr val="tx2"/>
                </a:solidFill>
              </a:rPr>
              <a:t>Targeted spend </a:t>
            </a:r>
            <a:r>
              <a:rPr lang="en-ZA" dirty="0">
                <a:solidFill>
                  <a:prstClr val="black"/>
                </a:solidFill>
              </a:rPr>
              <a:t>in line with spatial development priorities and basic service delivery needs</a:t>
            </a:r>
          </a:p>
          <a:p>
            <a:pPr marL="236538" lvl="1" indent="-236538" algn="just">
              <a:lnSpc>
                <a:spcPct val="130000"/>
              </a:lnSpc>
              <a:spcBef>
                <a:spcPts val="800"/>
              </a:spcBef>
            </a:pPr>
            <a:endParaRPr lang="en-ZA" sz="1800" dirty="0">
              <a:solidFill>
                <a:prstClr val="black"/>
              </a:solidFill>
            </a:endParaRPr>
          </a:p>
          <a:p>
            <a:pPr marL="236538" lvl="1" indent="-236538">
              <a:lnSpc>
                <a:spcPct val="130000"/>
              </a:lnSpc>
              <a:spcBef>
                <a:spcPts val="800"/>
              </a:spcBef>
            </a:pPr>
            <a:endParaRPr lang="en-US" dirty="0"/>
          </a:p>
          <a:p>
            <a:pPr marL="236538" lvl="1" indent="-236538">
              <a:lnSpc>
                <a:spcPct val="130000"/>
              </a:lnSpc>
              <a:spcBef>
                <a:spcPts val="800"/>
              </a:spcBef>
            </a:pP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9352531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dirty="0">
                <a:solidFill>
                  <a:srgbClr val="001489"/>
                </a:solidFill>
              </a:rPr>
              <a:t>Key Socio-Economic findings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66773631"/>
              </p:ext>
            </p:extLst>
          </p:nvPr>
        </p:nvGraphicFramePr>
        <p:xfrm>
          <a:off x="374073" y="3454977"/>
          <a:ext cx="8427027" cy="24409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51293">
                  <a:extLst>
                    <a:ext uri="{9D8B030D-6E8A-4147-A177-3AD203B41FA5}">
                      <a16:colId xmlns:a16="http://schemas.microsoft.com/office/drawing/2014/main" xmlns="" val="1334200436"/>
                    </a:ext>
                  </a:extLst>
                </a:gridCol>
                <a:gridCol w="5975734">
                  <a:extLst>
                    <a:ext uri="{9D8B030D-6E8A-4147-A177-3AD203B41FA5}">
                      <a16:colId xmlns:a16="http://schemas.microsoft.com/office/drawing/2014/main" xmlns="" val="229917035"/>
                    </a:ext>
                  </a:extLst>
                </a:gridCol>
              </a:tblGrid>
              <a:tr h="2440998">
                <a:tc>
                  <a:txBody>
                    <a:bodyPr/>
                    <a:lstStyle/>
                    <a:p>
                      <a:r>
                        <a:rPr lang="en-ZA" sz="1400" dirty="0">
                          <a:solidFill>
                            <a:schemeClr val="tx1"/>
                          </a:solidFill>
                        </a:rPr>
                        <a:t>Negative indicators</a:t>
                      </a:r>
                    </a:p>
                  </a:txBody>
                  <a:tcPr marL="68580" marR="68580" marT="34290" marB="34290">
                    <a:solidFill>
                      <a:srgbClr val="D1CDC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85750" algn="l"/>
                        </a:tabLst>
                        <a:defRPr/>
                      </a:pPr>
                      <a:r>
                        <a:rPr lang="en-ZA" sz="1400" baseline="0" dirty="0">
                          <a:solidFill>
                            <a:schemeClr val="tx1"/>
                          </a:solidFill>
                        </a:rPr>
                        <a:t>1. 	High proportion of low income earners</a:t>
                      </a:r>
                    </a:p>
                    <a:p>
                      <a:pPr>
                        <a:lnSpc>
                          <a:spcPct val="120000"/>
                        </a:lnSpc>
                        <a:spcBef>
                          <a:spcPts val="1200"/>
                        </a:spcBef>
                        <a:tabLst>
                          <a:tab pos="285750" algn="l"/>
                        </a:tabLst>
                      </a:pPr>
                      <a:r>
                        <a:rPr lang="en-ZA" sz="1400" baseline="0" dirty="0">
                          <a:solidFill>
                            <a:schemeClr val="tx1"/>
                          </a:solidFill>
                        </a:rPr>
                        <a:t>2.	Increasing income inequality in certain municipal areas</a:t>
                      </a:r>
                    </a:p>
                    <a:p>
                      <a:pPr>
                        <a:lnSpc>
                          <a:spcPct val="120000"/>
                        </a:lnSpc>
                        <a:spcBef>
                          <a:spcPts val="1200"/>
                        </a:spcBef>
                        <a:tabLst>
                          <a:tab pos="285750" algn="l"/>
                        </a:tabLst>
                      </a:pPr>
                      <a:r>
                        <a:rPr lang="en-ZA" sz="1400" baseline="0" dirty="0">
                          <a:solidFill>
                            <a:schemeClr val="tx1"/>
                          </a:solidFill>
                        </a:rPr>
                        <a:t>3. 	High Gr 12 drop-out rates</a:t>
                      </a:r>
                    </a:p>
                    <a:p>
                      <a:pPr>
                        <a:lnSpc>
                          <a:spcPct val="120000"/>
                        </a:lnSpc>
                        <a:spcBef>
                          <a:spcPts val="1200"/>
                        </a:spcBef>
                        <a:tabLst>
                          <a:tab pos="285750" algn="l"/>
                        </a:tabLst>
                      </a:pPr>
                      <a:r>
                        <a:rPr lang="en-ZA" sz="1400" baseline="0" dirty="0">
                          <a:solidFill>
                            <a:schemeClr val="tx1"/>
                          </a:solidFill>
                        </a:rPr>
                        <a:t>4.	 Informal dwellings</a:t>
                      </a:r>
                    </a:p>
                    <a:p>
                      <a:pPr algn="l">
                        <a:lnSpc>
                          <a:spcPct val="120000"/>
                        </a:lnSpc>
                        <a:spcBef>
                          <a:spcPts val="1200"/>
                        </a:spcBef>
                        <a:tabLst>
                          <a:tab pos="285750" algn="l"/>
                        </a:tabLst>
                      </a:pPr>
                      <a:r>
                        <a:rPr lang="en-ZA" sz="1400" baseline="0" dirty="0">
                          <a:solidFill>
                            <a:schemeClr val="tx1"/>
                          </a:solidFill>
                        </a:rPr>
                        <a:t>5. 	Crime, especially theft, assault, drugs, damage to property, DUI</a:t>
                      </a:r>
                    </a:p>
                    <a:p>
                      <a:pPr>
                        <a:lnSpc>
                          <a:spcPct val="120000"/>
                        </a:lnSpc>
                        <a:spcBef>
                          <a:spcPts val="1200"/>
                        </a:spcBef>
                        <a:tabLst>
                          <a:tab pos="285750" algn="l"/>
                        </a:tabLst>
                      </a:pPr>
                      <a:r>
                        <a:rPr lang="en-ZA" sz="1400" baseline="0" dirty="0">
                          <a:solidFill>
                            <a:schemeClr val="tx1"/>
                          </a:solidFill>
                        </a:rPr>
                        <a:t>6. 	HIV/AIDS, TB</a:t>
                      </a:r>
                      <a:endParaRPr lang="en-ZA" sz="14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solidFill>
                      <a:srgbClr val="D1C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63831559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246373363"/>
              </p:ext>
            </p:extLst>
          </p:nvPr>
        </p:nvGraphicFramePr>
        <p:xfrm>
          <a:off x="374074" y="1371600"/>
          <a:ext cx="8427026" cy="20833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51293">
                  <a:extLst>
                    <a:ext uri="{9D8B030D-6E8A-4147-A177-3AD203B41FA5}">
                      <a16:colId xmlns:a16="http://schemas.microsoft.com/office/drawing/2014/main" xmlns="" val="3542669329"/>
                    </a:ext>
                  </a:extLst>
                </a:gridCol>
                <a:gridCol w="5975733">
                  <a:extLst>
                    <a:ext uri="{9D8B030D-6E8A-4147-A177-3AD203B41FA5}">
                      <a16:colId xmlns:a16="http://schemas.microsoft.com/office/drawing/2014/main" xmlns="" val="1915183418"/>
                    </a:ext>
                  </a:extLst>
                </a:gridCol>
              </a:tblGrid>
              <a:tr h="2083377">
                <a:tc>
                  <a:txBody>
                    <a:bodyPr/>
                    <a:lstStyle/>
                    <a:p>
                      <a:r>
                        <a:rPr lang="en-ZA" sz="1400" dirty="0">
                          <a:solidFill>
                            <a:schemeClr val="tx1"/>
                          </a:solidFill>
                        </a:rPr>
                        <a:t>Positive</a:t>
                      </a:r>
                      <a:r>
                        <a:rPr lang="en-ZA" sz="1400" baseline="0" dirty="0">
                          <a:solidFill>
                            <a:schemeClr val="tx1"/>
                          </a:solidFill>
                        </a:rPr>
                        <a:t> indicators</a:t>
                      </a:r>
                      <a:endParaRPr lang="en-ZA" sz="14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solidFill>
                      <a:srgbClr val="D1CDC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  <a:spcBef>
                          <a:spcPts val="1200"/>
                        </a:spcBef>
                        <a:tabLst>
                          <a:tab pos="285750" algn="l"/>
                        </a:tabLst>
                      </a:pPr>
                      <a:r>
                        <a:rPr lang="en-ZA" sz="1400" dirty="0">
                          <a:solidFill>
                            <a:schemeClr val="tx1"/>
                          </a:solidFill>
                        </a:rPr>
                        <a:t>1. 	Average GDPR</a:t>
                      </a:r>
                      <a:r>
                        <a:rPr lang="en-ZA" sz="1400" baseline="0" dirty="0">
                          <a:solidFill>
                            <a:schemeClr val="tx1"/>
                          </a:solidFill>
                        </a:rPr>
                        <a:t> growth higher than average population growth</a:t>
                      </a:r>
                    </a:p>
                    <a:p>
                      <a:pPr>
                        <a:lnSpc>
                          <a:spcPct val="120000"/>
                        </a:lnSpc>
                        <a:spcBef>
                          <a:spcPts val="1200"/>
                        </a:spcBef>
                        <a:tabLst>
                          <a:tab pos="285750" algn="l"/>
                        </a:tabLst>
                      </a:pPr>
                      <a:r>
                        <a:rPr lang="en-ZA" sz="1400" baseline="0" dirty="0">
                          <a:solidFill>
                            <a:schemeClr val="tx1"/>
                          </a:solidFill>
                        </a:rPr>
                        <a:t>2. 	Rising nominal GDPR per capita</a:t>
                      </a:r>
                    </a:p>
                    <a:p>
                      <a:pPr>
                        <a:lnSpc>
                          <a:spcPct val="120000"/>
                        </a:lnSpc>
                        <a:spcBef>
                          <a:spcPts val="1200"/>
                        </a:spcBef>
                        <a:tabLst>
                          <a:tab pos="285750" algn="l"/>
                        </a:tabLst>
                      </a:pPr>
                      <a:r>
                        <a:rPr lang="en-ZA" sz="1400" baseline="0" dirty="0">
                          <a:solidFill>
                            <a:schemeClr val="tx1"/>
                          </a:solidFill>
                        </a:rPr>
                        <a:t>3. 	Rising HDI</a:t>
                      </a:r>
                    </a:p>
                    <a:p>
                      <a:pPr>
                        <a:lnSpc>
                          <a:spcPct val="120000"/>
                        </a:lnSpc>
                        <a:spcBef>
                          <a:spcPts val="1200"/>
                        </a:spcBef>
                        <a:tabLst>
                          <a:tab pos="285750" algn="l"/>
                        </a:tabLst>
                      </a:pPr>
                      <a:r>
                        <a:rPr lang="en-ZA" sz="1400" baseline="0" dirty="0">
                          <a:solidFill>
                            <a:schemeClr val="tx1"/>
                          </a:solidFill>
                        </a:rPr>
                        <a:t>4. 	Increasing access to basic services</a:t>
                      </a:r>
                    </a:p>
                    <a:p>
                      <a:pPr>
                        <a:lnSpc>
                          <a:spcPct val="120000"/>
                        </a:lnSpc>
                        <a:spcBef>
                          <a:spcPts val="1200"/>
                        </a:spcBef>
                        <a:tabLst>
                          <a:tab pos="285750" algn="l"/>
                        </a:tabLst>
                      </a:pPr>
                      <a:r>
                        <a:rPr lang="en-ZA" sz="1400" baseline="0" dirty="0">
                          <a:solidFill>
                            <a:schemeClr val="tx1"/>
                          </a:solidFill>
                        </a:rPr>
                        <a:t>5. 	Increasing learner enrolment</a:t>
                      </a:r>
                      <a:endParaRPr lang="en-ZA" sz="14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>
                    <a:solidFill>
                      <a:srgbClr val="D1C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99314489"/>
                  </a:ext>
                </a:extLst>
              </a:tr>
            </a:tbl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547781" y="6468825"/>
            <a:ext cx="4138573" cy="230832"/>
          </a:xfrm>
        </p:spPr>
        <p:txBody>
          <a:bodyPr/>
          <a:lstStyle/>
          <a:p>
            <a:r>
              <a:rPr lang="en-ZA" sz="800" dirty="0">
                <a:solidFill>
                  <a:srgbClr val="998F86"/>
                </a:solidFill>
              </a:rPr>
              <a:t>2018 &amp; MERO Budget Committee Presentation PERO</a:t>
            </a:r>
            <a:endParaRPr lang="en-GB" sz="800" dirty="0">
              <a:solidFill>
                <a:srgbClr val="998F86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z="900" smtClean="0">
                <a:solidFill>
                  <a:srgbClr val="003399"/>
                </a:solidFill>
              </a:rPr>
              <a:pPr/>
              <a:t>21</a:t>
            </a:fld>
            <a:endParaRPr lang="en-ZA" sz="900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5700280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11188" y="2276872"/>
            <a:ext cx="8281291" cy="1188999"/>
          </a:xfrm>
        </p:spPr>
        <p:txBody>
          <a:bodyPr>
            <a:normAutofit/>
          </a:bodyPr>
          <a:lstStyle/>
          <a:p>
            <a:r>
              <a:rPr lang="en-ZA" dirty="0"/>
              <a:t>Implications </a:t>
            </a:r>
            <a:r>
              <a:rPr lang="en-ZA"/>
              <a:t>for policy, </a:t>
            </a:r>
            <a:r>
              <a:rPr lang="en-ZA" dirty="0"/>
              <a:t>planning and budgeting</a:t>
            </a:r>
            <a:endParaRPr lang="en-US" dirty="0"/>
          </a:p>
        </p:txBody>
      </p:sp>
      <p:sp>
        <p:nvSpPr>
          <p:cNvPr id="3" name="Text Placeholder 5"/>
          <p:cNvSpPr txBox="1">
            <a:spLocks/>
          </p:cNvSpPr>
          <p:nvPr/>
        </p:nvSpPr>
        <p:spPr>
          <a:xfrm>
            <a:off x="7567160" y="4873861"/>
            <a:ext cx="2847586" cy="53141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b="0" dirty="0">
                <a:solidFill>
                  <a:schemeClr val="bg1"/>
                </a:solidFill>
              </a:rPr>
              <a:t>M Booysen</a:t>
            </a:r>
          </a:p>
        </p:txBody>
      </p:sp>
    </p:spTree>
    <p:extLst>
      <p:ext uri="{BB962C8B-B14F-4D97-AF65-F5344CB8AC3E}">
        <p14:creationId xmlns:p14="http://schemas.microsoft.com/office/powerpoint/2010/main" xmlns="" val="54821324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role of PERO and MERO in a VUCA Worl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23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09789" y="1061498"/>
            <a:ext cx="8597205" cy="5212693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20000"/>
              </a:lnSpc>
              <a:spcBef>
                <a:spcPts val="1800"/>
              </a:spcBef>
              <a:buBlip>
                <a:blip r:embed="rId2"/>
              </a:buBlip>
            </a:pPr>
            <a:endParaRPr lang="en-US" b="0" dirty="0"/>
          </a:p>
          <a:p>
            <a:pPr marL="285750" indent="-285750">
              <a:lnSpc>
                <a:spcPct val="120000"/>
              </a:lnSpc>
              <a:spcBef>
                <a:spcPts val="1800"/>
              </a:spcBef>
              <a:buBlip>
                <a:blip r:embed="rId2"/>
              </a:buBlip>
            </a:pPr>
            <a:endParaRPr lang="en-US" b="0" dirty="0"/>
          </a:p>
          <a:p>
            <a:pPr marL="285750" indent="-285750">
              <a:lnSpc>
                <a:spcPct val="120000"/>
              </a:lnSpc>
              <a:spcBef>
                <a:spcPts val="1800"/>
              </a:spcBef>
              <a:buBlip>
                <a:blip r:embed="rId2"/>
              </a:buBlip>
            </a:pPr>
            <a:endParaRPr lang="en-US" b="0" dirty="0"/>
          </a:p>
          <a:p>
            <a:pPr marL="285750" indent="-285750">
              <a:lnSpc>
                <a:spcPct val="120000"/>
              </a:lnSpc>
              <a:spcBef>
                <a:spcPts val="1800"/>
              </a:spcBef>
              <a:buBlip>
                <a:blip r:embed="rId2"/>
              </a:buBlip>
            </a:pPr>
            <a:endParaRPr lang="en-US" b="0" dirty="0"/>
          </a:p>
          <a:p>
            <a:pPr marL="285750" indent="-285750">
              <a:lnSpc>
                <a:spcPct val="120000"/>
              </a:lnSpc>
              <a:spcBef>
                <a:spcPts val="1800"/>
              </a:spcBef>
              <a:buBlip>
                <a:blip r:embed="rId2"/>
              </a:buBlip>
            </a:pPr>
            <a:endParaRPr lang="en-US" b="0" dirty="0"/>
          </a:p>
          <a:p>
            <a:pPr marL="285750" indent="-285750">
              <a:lnSpc>
                <a:spcPct val="120000"/>
              </a:lnSpc>
              <a:spcBef>
                <a:spcPts val="1800"/>
              </a:spcBef>
              <a:buBlip>
                <a:blip r:embed="rId2"/>
              </a:buBlip>
            </a:pPr>
            <a:endParaRPr lang="en-US" b="0" dirty="0"/>
          </a:p>
          <a:p>
            <a:pPr marL="285750" indent="-285750">
              <a:lnSpc>
                <a:spcPct val="120000"/>
              </a:lnSpc>
              <a:spcBef>
                <a:spcPts val="1800"/>
              </a:spcBef>
              <a:buBlip>
                <a:blip r:embed="rId2"/>
              </a:buBlip>
            </a:pPr>
            <a:endParaRPr lang="en-US" b="0" dirty="0"/>
          </a:p>
          <a:p>
            <a:pPr>
              <a:lnSpc>
                <a:spcPct val="120000"/>
              </a:lnSpc>
              <a:spcBef>
                <a:spcPts val="1800"/>
              </a:spcBef>
            </a:pPr>
            <a:endParaRPr lang="en-US" b="0" dirty="0"/>
          </a:p>
          <a:p>
            <a:pPr>
              <a:lnSpc>
                <a:spcPct val="120000"/>
              </a:lnSpc>
              <a:spcBef>
                <a:spcPts val="1200"/>
              </a:spcBef>
            </a:pPr>
            <a:r>
              <a:rPr lang="en-US" sz="1500" i="1" dirty="0"/>
              <a:t>Within this </a:t>
            </a:r>
            <a:r>
              <a:rPr lang="en-US" sz="1500" i="1" dirty="0" err="1"/>
              <a:t>VUCA</a:t>
            </a:r>
            <a:r>
              <a:rPr lang="en-US" sz="1500" i="1" dirty="0"/>
              <a:t> state, the PERO and MERO provides credible, reliable and robust data and information in the area of economics and socio-economics for well-informed decisions to be made</a:t>
            </a:r>
          </a:p>
        </p:txBody>
      </p:sp>
      <p:sp>
        <p:nvSpPr>
          <p:cNvPr id="7" name="Rectangle 6"/>
          <p:cNvSpPr/>
          <p:nvPr/>
        </p:nvSpPr>
        <p:spPr>
          <a:xfrm>
            <a:off x="568551" y="1120171"/>
            <a:ext cx="2939994" cy="153851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Volat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Ris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Inst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Flux</a:t>
            </a:r>
          </a:p>
        </p:txBody>
      </p:sp>
      <p:sp>
        <p:nvSpPr>
          <p:cNvPr id="8" name="Rectangle 7"/>
          <p:cNvSpPr/>
          <p:nvPr/>
        </p:nvSpPr>
        <p:spPr>
          <a:xfrm>
            <a:off x="5508217" y="1061498"/>
            <a:ext cx="2939994" cy="153851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Uncertainty</a:t>
            </a:r>
          </a:p>
          <a:p>
            <a:pPr marL="171450" indent="-171450" algn="r">
              <a:buFont typeface="Arial" panose="020B0604020202020204" pitchFamily="34" charset="0"/>
              <a:buChar char="•"/>
            </a:pPr>
            <a:r>
              <a:rPr lang="en-US" sz="1400" dirty="0"/>
              <a:t>Surprises</a:t>
            </a:r>
          </a:p>
          <a:p>
            <a:pPr marL="171450" indent="-171450" algn="r">
              <a:buFont typeface="Arial" panose="020B0604020202020204" pitchFamily="34" charset="0"/>
              <a:buChar char="•"/>
            </a:pPr>
            <a:r>
              <a:rPr lang="en-US" sz="1400" dirty="0"/>
              <a:t>Unpredictability</a:t>
            </a:r>
          </a:p>
          <a:p>
            <a:pPr marL="171450" indent="-171450" algn="r">
              <a:buFont typeface="Arial" panose="020B0604020202020204" pitchFamily="34" charset="0"/>
              <a:buChar char="•"/>
            </a:pPr>
            <a:r>
              <a:rPr lang="en-US" sz="1400" dirty="0"/>
              <a:t>Unknown outcomes</a:t>
            </a:r>
          </a:p>
        </p:txBody>
      </p:sp>
      <p:sp>
        <p:nvSpPr>
          <p:cNvPr id="9" name="Rectangle 8"/>
          <p:cNvSpPr/>
          <p:nvPr/>
        </p:nvSpPr>
        <p:spPr>
          <a:xfrm>
            <a:off x="554096" y="3456970"/>
            <a:ext cx="2939994" cy="153851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Complex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Dualit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/>
              <a:t>Unproductive</a:t>
            </a:r>
          </a:p>
        </p:txBody>
      </p:sp>
      <p:sp>
        <p:nvSpPr>
          <p:cNvPr id="10" name="Rectangle 9"/>
          <p:cNvSpPr/>
          <p:nvPr/>
        </p:nvSpPr>
        <p:spPr>
          <a:xfrm>
            <a:off x="5502315" y="3407846"/>
            <a:ext cx="2939994" cy="153851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Ambiguity</a:t>
            </a:r>
          </a:p>
          <a:p>
            <a:pPr marL="171450" indent="-171450" algn="r">
              <a:buFont typeface="Arial" panose="020B0604020202020204" pitchFamily="34" charset="0"/>
              <a:buChar char="•"/>
            </a:pPr>
            <a:r>
              <a:rPr lang="en-US" sz="1400" dirty="0"/>
              <a:t>Doubt</a:t>
            </a:r>
          </a:p>
          <a:p>
            <a:pPr marL="171450" indent="-171450" algn="r">
              <a:buFont typeface="Arial" panose="020B0604020202020204" pitchFamily="34" charset="0"/>
              <a:buChar char="•"/>
            </a:pPr>
            <a:r>
              <a:rPr lang="en-US" sz="1400" dirty="0"/>
              <a:t>Distrust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2543284" y="2020503"/>
            <a:ext cx="1658140" cy="809784"/>
          </a:xfrm>
          <a:prstGeom prst="roundRect">
            <a:avLst/>
          </a:prstGeom>
          <a:solidFill>
            <a:srgbClr val="5C87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Vision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4664759" y="2032534"/>
            <a:ext cx="1582058" cy="809786"/>
          </a:xfrm>
          <a:prstGeom prst="roundRect">
            <a:avLst/>
          </a:prstGeom>
          <a:solidFill>
            <a:srgbClr val="5C87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Understanding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2499741" y="3033978"/>
            <a:ext cx="1687227" cy="809786"/>
          </a:xfrm>
          <a:prstGeom prst="roundRect">
            <a:avLst/>
          </a:prstGeom>
          <a:solidFill>
            <a:srgbClr val="5C87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Clarity</a:t>
            </a:r>
          </a:p>
        </p:txBody>
      </p:sp>
      <p:sp>
        <p:nvSpPr>
          <p:cNvPr id="18" name="Rounded Rectangle 17"/>
          <p:cNvSpPr/>
          <p:nvPr/>
        </p:nvSpPr>
        <p:spPr>
          <a:xfrm>
            <a:off x="4697375" y="3033978"/>
            <a:ext cx="1582058" cy="809786"/>
          </a:xfrm>
          <a:prstGeom prst="roundRect">
            <a:avLst/>
          </a:prstGeom>
          <a:solidFill>
            <a:srgbClr val="5C87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Agility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1654629" y="2615145"/>
            <a:ext cx="0" cy="841825"/>
          </a:xfrm>
          <a:prstGeom prst="line">
            <a:avLst/>
          </a:prstGeom>
          <a:ln w="88900">
            <a:solidFill>
              <a:srgbClr val="890C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3508545" y="1509486"/>
            <a:ext cx="1999672" cy="0"/>
          </a:xfrm>
          <a:prstGeom prst="line">
            <a:avLst/>
          </a:prstGeom>
          <a:ln w="88900">
            <a:solidFill>
              <a:srgbClr val="890C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6972312" y="2600012"/>
            <a:ext cx="0" cy="798285"/>
          </a:xfrm>
          <a:prstGeom prst="line">
            <a:avLst/>
          </a:prstGeom>
          <a:ln w="88900">
            <a:solidFill>
              <a:srgbClr val="890C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3508545" y="4547438"/>
            <a:ext cx="1979859" cy="0"/>
          </a:xfrm>
          <a:prstGeom prst="line">
            <a:avLst/>
          </a:prstGeom>
          <a:ln w="88900">
            <a:solidFill>
              <a:srgbClr val="890C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54194725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1489"/>
                </a:solidFill>
              </a:rPr>
              <a:t>Implications for policy, planning and budgeting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67311" y="1465407"/>
            <a:ext cx="8525168" cy="4687870"/>
          </a:xfrm>
        </p:spPr>
        <p:txBody>
          <a:bodyPr>
            <a:normAutofit/>
          </a:bodyPr>
          <a:lstStyle/>
          <a:p>
            <a:pPr marL="236538" lvl="1" indent="-236538">
              <a:lnSpc>
                <a:spcPct val="120000"/>
              </a:lnSpc>
              <a:spcBef>
                <a:spcPts val="1200"/>
              </a:spcBef>
            </a:pPr>
            <a:r>
              <a:rPr lang="en-ZA" sz="1500" dirty="0">
                <a:solidFill>
                  <a:prstClr val="black"/>
                </a:solidFill>
              </a:rPr>
              <a:t>The </a:t>
            </a:r>
            <a:r>
              <a:rPr lang="en-ZA" sz="1500" b="1" dirty="0">
                <a:solidFill>
                  <a:prstClr val="black"/>
                </a:solidFill>
              </a:rPr>
              <a:t>economic outlook weakened</a:t>
            </a:r>
            <a:r>
              <a:rPr lang="en-ZA" sz="1500" dirty="0">
                <a:solidFill>
                  <a:prstClr val="black"/>
                </a:solidFill>
              </a:rPr>
              <a:t>. The decline of economic activity will potentially lead to a decrease in both domestic and foreign private investment. The loss of business confidence, the decline in private investment, potential capital flight, a depreciated rand, an increase in interest rates, </a:t>
            </a:r>
            <a:r>
              <a:rPr lang="en-ZA" sz="1500" b="1" dirty="0">
                <a:solidFill>
                  <a:prstClr val="black"/>
                </a:solidFill>
              </a:rPr>
              <a:t>could lead to further international credit ratings downgrades</a:t>
            </a:r>
            <a:r>
              <a:rPr lang="en-ZA" sz="1500" dirty="0">
                <a:solidFill>
                  <a:prstClr val="black"/>
                </a:solidFill>
              </a:rPr>
              <a:t> </a:t>
            </a:r>
            <a:endParaRPr lang="en-US" sz="1500" dirty="0">
              <a:solidFill>
                <a:prstClr val="black"/>
              </a:solidFill>
            </a:endParaRPr>
          </a:p>
          <a:p>
            <a:pPr marL="236538" lvl="1" indent="-236538">
              <a:lnSpc>
                <a:spcPct val="120000"/>
              </a:lnSpc>
              <a:spcBef>
                <a:spcPts val="1200"/>
              </a:spcBef>
            </a:pPr>
            <a:r>
              <a:rPr lang="en-ZA" sz="1500" dirty="0">
                <a:solidFill>
                  <a:prstClr val="black"/>
                </a:solidFill>
              </a:rPr>
              <a:t>The VAT increase, depreciated rand, and increase in energy costs (fuel) may adversely impact inflation </a:t>
            </a:r>
            <a:r>
              <a:rPr lang="en-ZA" sz="1500" dirty="0"/>
              <a:t> </a:t>
            </a:r>
          </a:p>
          <a:p>
            <a:pPr marL="236538" lvl="1" indent="-236538">
              <a:lnSpc>
                <a:spcPct val="120000"/>
              </a:lnSpc>
              <a:spcBef>
                <a:spcPts val="1200"/>
              </a:spcBef>
            </a:pPr>
            <a:r>
              <a:rPr lang="en-US" sz="1500" dirty="0"/>
              <a:t>Sluggish economic performance, </a:t>
            </a:r>
            <a:r>
              <a:rPr lang="en-US" sz="1500" b="1" dirty="0"/>
              <a:t>living costs increase </a:t>
            </a:r>
            <a:r>
              <a:rPr lang="en-US" sz="1500" dirty="0"/>
              <a:t>→ poor business growth/ diminishing household (disposable) income </a:t>
            </a:r>
          </a:p>
          <a:p>
            <a:pPr marL="236538" lvl="1" indent="-236538">
              <a:lnSpc>
                <a:spcPct val="120000"/>
              </a:lnSpc>
              <a:spcBef>
                <a:spcPts val="1200"/>
              </a:spcBef>
            </a:pPr>
            <a:r>
              <a:rPr lang="en-US" sz="1500" dirty="0"/>
              <a:t>HDI trend upwards </a:t>
            </a:r>
            <a:r>
              <a:rPr lang="en-US" sz="1500" b="0" dirty="0"/>
              <a:t>stemming from education and health improvements. </a:t>
            </a:r>
            <a:r>
              <a:rPr lang="en-US" sz="1500" dirty="0"/>
              <a:t>High drop-out rates </a:t>
            </a:r>
            <a:r>
              <a:rPr lang="en-US" sz="1500" b="0" dirty="0"/>
              <a:t>coupled with </a:t>
            </a:r>
            <a:r>
              <a:rPr lang="en-US" sz="1500" dirty="0"/>
              <a:t>demand for more skilled and semi-skilled </a:t>
            </a:r>
            <a:r>
              <a:rPr lang="en-US" sz="1500" dirty="0" err="1"/>
              <a:t>labour</a:t>
            </a:r>
            <a:r>
              <a:rPr lang="en-US" sz="1500" dirty="0"/>
              <a:t> </a:t>
            </a:r>
            <a:r>
              <a:rPr lang="en-US" sz="1500" b="0" dirty="0"/>
              <a:t>→ increased unemployment levels. </a:t>
            </a:r>
            <a:r>
              <a:rPr lang="en-US" sz="1500" dirty="0"/>
              <a:t>Heightened crime </a:t>
            </a:r>
            <a:r>
              <a:rPr lang="en-US" sz="1500" b="0" dirty="0"/>
              <a:t>→  adverse impact on citizens and business alike</a:t>
            </a:r>
          </a:p>
          <a:p>
            <a:pPr marL="236538" lvl="1" indent="-236538">
              <a:lnSpc>
                <a:spcPct val="120000"/>
              </a:lnSpc>
              <a:spcBef>
                <a:spcPts val="1200"/>
              </a:spcBef>
              <a:tabLst>
                <a:tab pos="228600" algn="l"/>
              </a:tabLst>
            </a:pPr>
            <a:r>
              <a:rPr lang="en-US" sz="1500" b="1" dirty="0"/>
              <a:t>Low economic growth → lower revenues → reduced fiscal framework</a:t>
            </a:r>
          </a:p>
          <a:p>
            <a:endParaRPr lang="en-US"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56864" y="6400801"/>
            <a:ext cx="4138573" cy="298182"/>
          </a:xfrm>
        </p:spPr>
        <p:txBody>
          <a:bodyPr/>
          <a:lstStyle/>
          <a:p>
            <a:r>
              <a:rPr lang="en-US"/>
              <a:t>2018 PERO &amp; MERO Budget Committee Presentation 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24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Text Placeholder 5"/>
          <p:cNvSpPr txBox="1">
            <a:spLocks/>
          </p:cNvSpPr>
          <p:nvPr/>
        </p:nvSpPr>
        <p:spPr>
          <a:xfrm>
            <a:off x="331293" y="1083448"/>
            <a:ext cx="8597205" cy="79234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ZA" sz="1800" i="1" dirty="0">
                <a:solidFill>
                  <a:schemeClr val="bg1">
                    <a:lumMod val="50000"/>
                  </a:schemeClr>
                </a:solidFill>
              </a:rPr>
              <a:t>Uncertain economic and fiscal environment</a:t>
            </a:r>
          </a:p>
        </p:txBody>
      </p:sp>
    </p:spTree>
    <p:extLst>
      <p:ext uri="{BB962C8B-B14F-4D97-AF65-F5344CB8AC3E}">
        <p14:creationId xmlns:p14="http://schemas.microsoft.com/office/powerpoint/2010/main" xmlns="" val="124506201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ZA" dirty="0">
                <a:solidFill>
                  <a:srgbClr val="001489"/>
                </a:solidFill>
              </a:rPr>
              <a:t>Budget Policy formulation and respons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07817" y="1134927"/>
            <a:ext cx="8597205" cy="288925"/>
          </a:xfrm>
        </p:spPr>
        <p:txBody>
          <a:bodyPr/>
          <a:lstStyle/>
          <a:p>
            <a:r>
              <a:rPr lang="en-ZA" dirty="0"/>
              <a:t>Responses to be encapsulated in the WC MTBP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25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07816" y="1576892"/>
            <a:ext cx="8597205" cy="4471484"/>
          </a:xfrm>
        </p:spPr>
        <p:txBody>
          <a:bodyPr>
            <a:normAutofit fontScale="92500"/>
          </a:bodyPr>
          <a:lstStyle/>
          <a:p>
            <a:pPr marL="285750" indent="-285750">
              <a:lnSpc>
                <a:spcPct val="13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en-US" sz="1500" dirty="0">
                <a:solidFill>
                  <a:prstClr val="black"/>
                </a:solidFill>
              </a:rPr>
              <a:t>Integrated Management approach </a:t>
            </a:r>
            <a:r>
              <a:rPr lang="en-US" sz="1500" b="0" dirty="0">
                <a:solidFill>
                  <a:prstClr val="black"/>
                </a:solidFill>
              </a:rPr>
              <a:t>- coordinated and integrated approach to provincial and municipal government planning, budgeting and implementation which is spatially responsive to </a:t>
            </a:r>
            <a:r>
              <a:rPr lang="en-US" sz="1500" dirty="0">
                <a:solidFill>
                  <a:prstClr val="black"/>
                </a:solidFill>
              </a:rPr>
              <a:t>create service delivery impact </a:t>
            </a:r>
          </a:p>
          <a:p>
            <a:pPr marL="285750" indent="-285750">
              <a:lnSpc>
                <a:spcPct val="13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en-US" sz="1500" b="0" dirty="0">
                <a:solidFill>
                  <a:prstClr val="black"/>
                </a:solidFill>
              </a:rPr>
              <a:t>Creating </a:t>
            </a:r>
            <a:r>
              <a:rPr lang="en-US" sz="1500" dirty="0">
                <a:solidFill>
                  <a:prstClr val="black"/>
                </a:solidFill>
              </a:rPr>
              <a:t>public value </a:t>
            </a:r>
            <a:r>
              <a:rPr lang="en-US" sz="1500" b="0" dirty="0">
                <a:solidFill>
                  <a:prstClr val="black"/>
                </a:solidFill>
              </a:rPr>
              <a:t>through budgets that are </a:t>
            </a:r>
            <a:r>
              <a:rPr lang="en-US" sz="1500" dirty="0">
                <a:solidFill>
                  <a:prstClr val="black"/>
                </a:solidFill>
              </a:rPr>
              <a:t>responsive to the socio-economic environment</a:t>
            </a:r>
            <a:r>
              <a:rPr lang="en-US" sz="1500" b="0" dirty="0">
                <a:solidFill>
                  <a:prstClr val="black"/>
                </a:solidFill>
              </a:rPr>
              <a:t> and are </a:t>
            </a:r>
            <a:r>
              <a:rPr lang="en-US" sz="1500" dirty="0">
                <a:solidFill>
                  <a:prstClr val="black"/>
                </a:solidFill>
              </a:rPr>
              <a:t>underpinned by the principles of good financial governance</a:t>
            </a:r>
            <a:r>
              <a:rPr lang="en-US" sz="1500" b="0" dirty="0">
                <a:solidFill>
                  <a:prstClr val="black"/>
                </a:solidFill>
              </a:rPr>
              <a:t> </a:t>
            </a:r>
          </a:p>
          <a:p>
            <a:pPr marL="285750" indent="-285750">
              <a:lnSpc>
                <a:spcPct val="13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en-US" sz="1500" dirty="0">
                <a:solidFill>
                  <a:prstClr val="black"/>
                </a:solidFill>
              </a:rPr>
              <a:t>Maintaining policy principles </a:t>
            </a:r>
            <a:r>
              <a:rPr lang="en-US" sz="1500" b="0" dirty="0">
                <a:solidFill>
                  <a:prstClr val="black"/>
                </a:solidFill>
              </a:rPr>
              <a:t>of Constitutionalism; Rule of Law; Creating Public Value; Partnerships; Evidence-Based; Whole of Society approach and Citizen Centric approaches</a:t>
            </a:r>
          </a:p>
          <a:p>
            <a:pPr marL="285750" indent="-285750">
              <a:lnSpc>
                <a:spcPct val="13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en-US" sz="1500" b="0" dirty="0">
                <a:solidFill>
                  <a:prstClr val="black"/>
                </a:solidFill>
              </a:rPr>
              <a:t>Continuing to give effect to the </a:t>
            </a:r>
            <a:r>
              <a:rPr lang="en-US" sz="1500" dirty="0">
                <a:solidFill>
                  <a:prstClr val="black"/>
                </a:solidFill>
              </a:rPr>
              <a:t>fiscal strategy and budget policy principles</a:t>
            </a:r>
          </a:p>
          <a:p>
            <a:pPr marL="285750" indent="-285750">
              <a:lnSpc>
                <a:spcPct val="13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en-US" sz="1500" dirty="0">
                <a:solidFill>
                  <a:prstClr val="black"/>
                </a:solidFill>
              </a:rPr>
              <a:t>Provincial Strategic Plan and Goals: </a:t>
            </a:r>
            <a:r>
              <a:rPr lang="en-US" sz="1500" b="0" dirty="0">
                <a:solidFill>
                  <a:prstClr val="black"/>
                </a:solidFill>
              </a:rPr>
              <a:t>Reflected in provincial medium term budget policy priorities and statement</a:t>
            </a:r>
          </a:p>
          <a:p>
            <a:pPr marL="285750" indent="-285750">
              <a:lnSpc>
                <a:spcPct val="130000"/>
              </a:lnSpc>
              <a:spcBef>
                <a:spcPts val="1200"/>
              </a:spcBef>
              <a:buBlip>
                <a:blip r:embed="rId3"/>
              </a:buBlip>
            </a:pPr>
            <a:r>
              <a:rPr lang="en-US" sz="1500" dirty="0">
                <a:solidFill>
                  <a:prstClr val="black"/>
                </a:solidFill>
              </a:rPr>
              <a:t>Infrastructure-led growth </a:t>
            </a:r>
            <a:r>
              <a:rPr lang="en-US" sz="1500" b="0" dirty="0">
                <a:solidFill>
                  <a:prstClr val="black"/>
                </a:solidFill>
              </a:rPr>
              <a:t>to support socio-economic development and building economic resilience</a:t>
            </a:r>
            <a:endParaRPr lang="en-ZA" b="0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2018 PERO &amp; MERO Budget Committee Presentation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9734658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xmlns="" val="2638739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1489"/>
                </a:solidFill>
              </a:rPr>
              <a:t>Introduction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4" y="1098216"/>
            <a:ext cx="8597206" cy="4788234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20000"/>
              </a:lnSpc>
              <a:spcBef>
                <a:spcPts val="1200"/>
              </a:spcBef>
              <a:buBlip>
                <a:blip r:embed="rId2"/>
              </a:buBlip>
            </a:pPr>
            <a:r>
              <a:rPr lang="en-US" b="0" dirty="0"/>
              <a:t>PERO and MERO: Western Cape Government economic intelligence publications informing </a:t>
            </a:r>
            <a:r>
              <a:rPr lang="en-US" b="0"/>
              <a:t>policy making, </a:t>
            </a:r>
            <a:r>
              <a:rPr lang="en-US" b="0" dirty="0"/>
              <a:t>planning and budgeting </a:t>
            </a:r>
          </a:p>
          <a:p>
            <a:pPr marL="285750" indent="-285750">
              <a:lnSpc>
                <a:spcPct val="120000"/>
              </a:lnSpc>
              <a:spcBef>
                <a:spcPts val="1200"/>
              </a:spcBef>
              <a:buBlip>
                <a:blip r:embed="rId2"/>
              </a:buBlip>
            </a:pPr>
            <a:r>
              <a:rPr lang="en-US" b="0" dirty="0"/>
              <a:t>Evidence-based planning supports </a:t>
            </a:r>
            <a:r>
              <a:rPr lang="en-US" b="0"/>
              <a:t>good governance, financial sustainability, </a:t>
            </a:r>
            <a:r>
              <a:rPr lang="en-US" b="0" dirty="0"/>
              <a:t>and  facilitates the creation of public value </a:t>
            </a:r>
          </a:p>
          <a:p>
            <a:pPr marL="285750" indent="-285750">
              <a:lnSpc>
                <a:spcPct val="120000"/>
              </a:lnSpc>
              <a:spcBef>
                <a:spcPts val="1200"/>
              </a:spcBef>
              <a:buBlip>
                <a:blip r:embed="rId2"/>
              </a:buBlip>
            </a:pPr>
            <a:r>
              <a:rPr lang="en-US" b="0" dirty="0"/>
              <a:t>Trends highlighted in the PERO and MERO also reflect on the impact of implementation of provincial and municipal services and </a:t>
            </a:r>
            <a:r>
              <a:rPr lang="en-US" b="0" dirty="0" err="1"/>
              <a:t>programmes</a:t>
            </a:r>
            <a:endParaRPr lang="en-US" b="0" dirty="0"/>
          </a:p>
          <a:p>
            <a:pPr marL="285750" indent="-285750">
              <a:lnSpc>
                <a:spcPct val="120000"/>
              </a:lnSpc>
              <a:spcBef>
                <a:spcPts val="1200"/>
              </a:spcBef>
              <a:buBlip>
                <a:blip r:embed="rId2"/>
              </a:buBlip>
            </a:pPr>
            <a:r>
              <a:rPr lang="en-US" b="0" dirty="0"/>
              <a:t>Collaborative effort and contributions by departments and municipalities</a:t>
            </a:r>
          </a:p>
          <a:p>
            <a:pPr marL="285750" indent="-285750">
              <a:lnSpc>
                <a:spcPct val="120000"/>
              </a:lnSpc>
              <a:spcBef>
                <a:spcPts val="1200"/>
              </a:spcBef>
              <a:buBlip>
                <a:blip r:embed="rId2"/>
              </a:buBlip>
            </a:pPr>
            <a:r>
              <a:rPr lang="en-US" b="0" dirty="0"/>
              <a:t>PERO and MERO Seminar was held on 6 September 2018 where the preliminary findings were deliberated </a:t>
            </a:r>
            <a:r>
              <a:rPr lang="en-US" b="0"/>
              <a:t>between departments, municipalities, </a:t>
            </a:r>
            <a:r>
              <a:rPr lang="en-US" b="0" dirty="0"/>
              <a:t>researchers and key stakeholder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3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549469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5"/>
            <a:ext cx="8597205" cy="623407"/>
          </a:xfrm>
        </p:spPr>
        <p:txBody>
          <a:bodyPr/>
          <a:lstStyle/>
          <a:p>
            <a:r>
              <a:rPr lang="en-ZA" dirty="0">
                <a:solidFill>
                  <a:srgbClr val="001489"/>
                </a:solidFill>
              </a:rPr>
              <a:t>Integrated policy, planning, budgeting and </a:t>
            </a:r>
            <a:br>
              <a:rPr lang="en-ZA" dirty="0">
                <a:solidFill>
                  <a:srgbClr val="001489"/>
                </a:solidFill>
              </a:rPr>
            </a:br>
            <a:r>
              <a:rPr lang="en-ZA" dirty="0">
                <a:solidFill>
                  <a:srgbClr val="001489"/>
                </a:solidFill>
              </a:rPr>
              <a:t>implementation cycle</a:t>
            </a:r>
          </a:p>
        </p:txBody>
      </p:sp>
      <p:sp>
        <p:nvSpPr>
          <p:cNvPr id="27" name="Footer Placeholder 26"/>
          <p:cNvSpPr>
            <a:spLocks noGrp="1"/>
          </p:cNvSpPr>
          <p:nvPr>
            <p:ph type="ftr" sz="quarter" idx="3"/>
          </p:nvPr>
        </p:nvSpPr>
        <p:spPr>
          <a:xfrm>
            <a:off x="4076501" y="6461271"/>
            <a:ext cx="4138573" cy="230832"/>
          </a:xfrm>
        </p:spPr>
        <p:txBody>
          <a:bodyPr/>
          <a:lstStyle/>
          <a:p>
            <a:r>
              <a:rPr lang="en-US"/>
              <a:t>2018 PERO &amp; MERO Budget Committee Presentation </a:t>
            </a:r>
            <a:endParaRPr lang="en-GB" dirty="0"/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xmlns="" val="510878739"/>
              </p:ext>
            </p:extLst>
          </p:nvPr>
        </p:nvGraphicFramePr>
        <p:xfrm>
          <a:off x="555325" y="2195191"/>
          <a:ext cx="8412480" cy="29102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6127811" y="1649319"/>
            <a:ext cx="1715809" cy="43088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End-of-term Review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1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3" name="Down Arrow 2"/>
          <p:cNvSpPr/>
          <p:nvPr/>
        </p:nvSpPr>
        <p:spPr>
          <a:xfrm>
            <a:off x="1784631" y="2582863"/>
            <a:ext cx="180345" cy="805969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695255" y="4964747"/>
            <a:ext cx="1404496" cy="769441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1100" b="1" kern="0" dirty="0">
                <a:solidFill>
                  <a:schemeClr val="bg1"/>
                </a:solidFill>
              </a:rPr>
              <a:t>Tabling</a:t>
            </a:r>
            <a:endParaRPr kumimoji="0" lang="en-ZA" sz="11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WC MTBPS,  </a:t>
            </a:r>
            <a:endParaRPr kumimoji="0" lang="en-ZA" sz="11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Adjusted Estimates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43608" y="1632775"/>
            <a:ext cx="3833500" cy="43088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EoTR</a:t>
            </a:r>
            <a:r>
              <a:rPr kumimoji="0" lang="en-ZA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 &amp; Evaluation Data Collection &amp; Analysi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1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13" name="Down Arrow 12"/>
          <p:cNvSpPr/>
          <p:nvPr/>
        </p:nvSpPr>
        <p:spPr>
          <a:xfrm>
            <a:off x="4297646" y="2511110"/>
            <a:ext cx="153812" cy="857828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468479" y="3962400"/>
            <a:ext cx="10242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</a:rPr>
              <a:t>Mar 2019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127309" y="2703725"/>
            <a:ext cx="1328459" cy="613005"/>
            <a:chOff x="-391417" y="0"/>
            <a:chExt cx="1317993" cy="1152778"/>
          </a:xfrm>
        </p:grpSpPr>
        <p:sp>
          <p:nvSpPr>
            <p:cNvPr id="16" name="Rectangle 15"/>
            <p:cNvSpPr/>
            <p:nvPr/>
          </p:nvSpPr>
          <p:spPr>
            <a:xfrm>
              <a:off x="6297" y="0"/>
              <a:ext cx="920279" cy="1123324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9" name="Rectangle 18"/>
            <p:cNvSpPr/>
            <p:nvPr/>
          </p:nvSpPr>
          <p:spPr>
            <a:xfrm>
              <a:off x="-391417" y="120414"/>
              <a:ext cx="1039009" cy="1032364"/>
            </a:xfrm>
            <a:prstGeom prst="rect">
              <a:avLst/>
            </a:prstGeom>
            <a:solidFill>
              <a:schemeClr val="accent2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8232" tIns="78232" rIns="78232" bIns="78232" numCol="1" spcCol="1270" anchor="b" anchorCtr="0">
              <a:noAutofit/>
            </a:bodyPr>
            <a:lstStyle/>
            <a:p>
              <a:pPr marL="0" marR="0" lvl="0" indent="0" algn="ctr" defTabSz="48895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1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August 2018 </a:t>
              </a:r>
              <a:r>
                <a:rPr kumimoji="0" lang="en-ZA" sz="1100" b="1" i="0" u="none" strike="noStrike" kern="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Bosberaad</a:t>
              </a:r>
              <a:endParaRPr kumimoji="0" lang="en-ZA" sz="11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0" name="Rectangle 19"/>
          <p:cNvSpPr/>
          <p:nvPr/>
        </p:nvSpPr>
        <p:spPr>
          <a:xfrm>
            <a:off x="2481586" y="1509361"/>
            <a:ext cx="1110375" cy="1123324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8232" tIns="78232" rIns="78232" bIns="78232" numCol="1" spcCol="1270" anchor="b" anchorCtr="0">
            <a:noAutofit/>
          </a:bodyPr>
          <a:lstStyle/>
          <a:p>
            <a:pPr marL="0" marR="0" lvl="0" indent="0" algn="ctr" defTabSz="4889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ZA" sz="1200" b="1" i="0" u="none" strike="noStrike" kern="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717123" y="2167948"/>
            <a:ext cx="1312815" cy="430887"/>
          </a:xfrm>
          <a:prstGeom prst="rect">
            <a:avLst/>
          </a:prstGeom>
          <a:solidFill>
            <a:srgbClr val="003399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1100" b="1" kern="0" dirty="0">
                <a:solidFill>
                  <a:prstClr val="white"/>
                </a:solidFill>
              </a:rPr>
              <a:t>Fiscal Policy Seminar</a:t>
            </a:r>
            <a:endParaRPr kumimoji="0" lang="en-ZA" sz="11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813661" y="3962400"/>
            <a:ext cx="1188859" cy="10233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ZA" sz="1100" b="1" dirty="0"/>
              <a:t>Nov 2018</a:t>
            </a:r>
          </a:p>
          <a:p>
            <a:pPr algn="ctr">
              <a:lnSpc>
                <a:spcPct val="110000"/>
              </a:lnSpc>
            </a:pPr>
            <a:r>
              <a:rPr lang="en-ZA" sz="1100" b="1" dirty="0"/>
              <a:t>Strategic Integrated Municipal Engagement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014566" y="6058150"/>
            <a:ext cx="525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Planning             Formulation              Execution </a:t>
            </a:r>
          </a:p>
        </p:txBody>
      </p:sp>
      <p:sp>
        <p:nvSpPr>
          <p:cNvPr id="24" name="Right Arrow 23"/>
          <p:cNvSpPr/>
          <p:nvPr/>
        </p:nvSpPr>
        <p:spPr>
          <a:xfrm>
            <a:off x="3210339" y="6116102"/>
            <a:ext cx="391561" cy="194295"/>
          </a:xfrm>
          <a:prstGeom prst="rightArrow">
            <a:avLst/>
          </a:prstGeom>
          <a:solidFill>
            <a:srgbClr val="F897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25" name="Right Arrow 24"/>
          <p:cNvSpPr/>
          <p:nvPr/>
        </p:nvSpPr>
        <p:spPr>
          <a:xfrm>
            <a:off x="5486400" y="6118678"/>
            <a:ext cx="391561" cy="194295"/>
          </a:xfrm>
          <a:prstGeom prst="rightArrow">
            <a:avLst/>
          </a:prstGeom>
          <a:solidFill>
            <a:srgbClr val="F897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6" name="Curved Left Arrow 5"/>
          <p:cNvSpPr/>
          <p:nvPr/>
        </p:nvSpPr>
        <p:spPr>
          <a:xfrm rot="5400000">
            <a:off x="3867925" y="1138416"/>
            <a:ext cx="1219200" cy="8700433"/>
          </a:xfrm>
          <a:prstGeom prst="curvedLef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schemeClr val="tx1"/>
              </a:solidFill>
            </a:endParaRPr>
          </a:p>
        </p:txBody>
      </p:sp>
      <p:sp>
        <p:nvSpPr>
          <p:cNvPr id="29" name="Curved Left Arrow 28"/>
          <p:cNvSpPr/>
          <p:nvPr/>
        </p:nvSpPr>
        <p:spPr>
          <a:xfrm rot="16200000">
            <a:off x="4077505" y="-2726887"/>
            <a:ext cx="1097490" cy="8532465"/>
          </a:xfrm>
          <a:prstGeom prst="curvedLef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schemeClr val="tx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7121807" y="2191031"/>
            <a:ext cx="1035790" cy="577081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General Elections</a:t>
            </a:r>
            <a:endParaRPr lang="en-ZA" sz="1050" b="1" kern="0" dirty="0">
              <a:solidFill>
                <a:prstClr val="white"/>
              </a:solidFill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05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303463" y="2176153"/>
            <a:ext cx="1213669" cy="49940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bg1"/>
                </a:solidFill>
              </a:rPr>
              <a:t>PERO&amp;MERO Seminar</a:t>
            </a:r>
          </a:p>
        </p:txBody>
      </p:sp>
      <p:sp>
        <p:nvSpPr>
          <p:cNvPr id="32" name="Rectangle 31"/>
          <p:cNvSpPr/>
          <p:nvPr/>
        </p:nvSpPr>
        <p:spPr>
          <a:xfrm>
            <a:off x="1332713" y="4971577"/>
            <a:ext cx="1220217" cy="533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/>
              <a:t>Tabling PERO&amp;MERO</a:t>
            </a:r>
          </a:p>
        </p:txBody>
      </p:sp>
      <p:sp>
        <p:nvSpPr>
          <p:cNvPr id="33" name="Rectangle 32"/>
          <p:cNvSpPr/>
          <p:nvPr/>
        </p:nvSpPr>
        <p:spPr>
          <a:xfrm>
            <a:off x="8224278" y="2161194"/>
            <a:ext cx="888392" cy="922638"/>
          </a:xfrm>
          <a:prstGeom prst="rect">
            <a:avLst/>
          </a:prstGeom>
          <a:solidFill>
            <a:srgbClr val="5C87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bg1"/>
                </a:solidFill>
              </a:rPr>
              <a:t>2019-2024 PSP</a:t>
            </a:r>
          </a:p>
        </p:txBody>
      </p:sp>
      <p:sp>
        <p:nvSpPr>
          <p:cNvPr id="34" name="Rectangle 33"/>
          <p:cNvSpPr/>
          <p:nvPr/>
        </p:nvSpPr>
        <p:spPr>
          <a:xfrm>
            <a:off x="116273" y="2177770"/>
            <a:ext cx="1058296" cy="497790"/>
          </a:xfrm>
          <a:prstGeom prst="rect">
            <a:avLst/>
          </a:prstGeom>
          <a:solidFill>
            <a:schemeClr val="accent2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8232" tIns="78232" rIns="78232" bIns="78232" numCol="1" spcCol="1270" anchor="b" anchorCtr="0">
            <a:noAutofit/>
          </a:bodyPr>
          <a:lstStyle/>
          <a:p>
            <a:pPr marL="0" marR="0" lvl="0" indent="0" algn="ctr" defTabSz="4889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en-ZA" sz="1100" b="1" kern="0" dirty="0">
                <a:solidFill>
                  <a:schemeClr val="bg1"/>
                </a:solidFill>
              </a:rPr>
              <a:t>July Planning Engagement</a:t>
            </a:r>
            <a:endParaRPr kumimoji="0" lang="en-ZA" sz="11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31" name="Oval 30"/>
          <p:cNvSpPr/>
          <p:nvPr/>
        </p:nvSpPr>
        <p:spPr>
          <a:xfrm>
            <a:off x="1691446" y="3497263"/>
            <a:ext cx="291020" cy="291020"/>
          </a:xfrm>
          <a:prstGeom prst="ellipse">
            <a:avLst/>
          </a:prstGeom>
          <a:solidFill>
            <a:srgbClr val="73AFB6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5" name="Rectangle 34"/>
          <p:cNvSpPr/>
          <p:nvPr/>
        </p:nvSpPr>
        <p:spPr>
          <a:xfrm>
            <a:off x="6392658" y="4968050"/>
            <a:ext cx="1215150" cy="5334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/>
              <a:t>Tabling </a:t>
            </a:r>
          </a:p>
          <a:p>
            <a:pPr algn="ctr"/>
            <a:r>
              <a:rPr lang="en-US" sz="1100" b="1" dirty="0"/>
              <a:t>2019 Budget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1280373" y="3986233"/>
            <a:ext cx="1188859" cy="2627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ZA" sz="1100" b="1" dirty="0"/>
              <a:t>Sep 2018</a:t>
            </a:r>
          </a:p>
        </p:txBody>
      </p:sp>
      <p:sp>
        <p:nvSpPr>
          <p:cNvPr id="38" name="Down Arrow 37"/>
          <p:cNvSpPr/>
          <p:nvPr/>
        </p:nvSpPr>
        <p:spPr>
          <a:xfrm rot="10800000">
            <a:off x="1810465" y="4569722"/>
            <a:ext cx="180346" cy="404468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39" name="Down Arrow 38"/>
          <p:cNvSpPr/>
          <p:nvPr/>
        </p:nvSpPr>
        <p:spPr>
          <a:xfrm rot="10800000">
            <a:off x="4275639" y="4649062"/>
            <a:ext cx="180346" cy="404468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40" name="Down Arrow 39"/>
          <p:cNvSpPr/>
          <p:nvPr/>
        </p:nvSpPr>
        <p:spPr>
          <a:xfrm rot="10800000">
            <a:off x="6912593" y="4563582"/>
            <a:ext cx="180346" cy="404468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4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121240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rovincial Economic Review and Outlook</a:t>
            </a:r>
          </a:p>
        </p:txBody>
      </p:sp>
      <p:sp>
        <p:nvSpPr>
          <p:cNvPr id="3" name="Text Placeholder 5"/>
          <p:cNvSpPr txBox="1">
            <a:spLocks/>
          </p:cNvSpPr>
          <p:nvPr/>
        </p:nvSpPr>
        <p:spPr>
          <a:xfrm>
            <a:off x="7567160" y="4873861"/>
            <a:ext cx="2847586" cy="53141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b="0" dirty="0">
                <a:solidFill>
                  <a:schemeClr val="bg1"/>
                </a:solidFill>
              </a:rPr>
              <a:t>RH Slinger</a:t>
            </a:r>
          </a:p>
        </p:txBody>
      </p:sp>
    </p:spTree>
    <p:extLst>
      <p:ext uri="{BB962C8B-B14F-4D97-AF65-F5344CB8AC3E}">
        <p14:creationId xmlns:p14="http://schemas.microsoft.com/office/powerpoint/2010/main" xmlns="" val="26759356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742708" cy="714374"/>
          </a:xfrm>
        </p:spPr>
        <p:txBody>
          <a:bodyPr>
            <a:noAutofit/>
          </a:bodyPr>
          <a:lstStyle/>
          <a:p>
            <a:r>
              <a:rPr lang="en-ZA" dirty="0">
                <a:solidFill>
                  <a:srgbClr val="001489"/>
                </a:solidFill>
              </a:rPr>
              <a:t>Outline of the 2018 Provincial Economic Review and </a:t>
            </a:r>
            <a:br>
              <a:rPr lang="en-ZA" dirty="0">
                <a:solidFill>
                  <a:srgbClr val="001489"/>
                </a:solidFill>
              </a:rPr>
            </a:br>
            <a:r>
              <a:rPr lang="en-ZA" dirty="0">
                <a:solidFill>
                  <a:srgbClr val="001489"/>
                </a:solidFill>
              </a:rPr>
              <a:t>Outlook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6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xmlns="" val="626832829"/>
              </p:ext>
            </p:extLst>
          </p:nvPr>
        </p:nvGraphicFramePr>
        <p:xfrm>
          <a:off x="295275" y="1955408"/>
          <a:ext cx="8742708" cy="33762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xmlns="" val="7027974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749" y="229243"/>
            <a:ext cx="8597205" cy="559256"/>
          </a:xfrm>
        </p:spPr>
        <p:txBody>
          <a:bodyPr/>
          <a:lstStyle/>
          <a:p>
            <a:r>
              <a:rPr lang="en-US" dirty="0">
                <a:solidFill>
                  <a:srgbClr val="001489"/>
                </a:solidFill>
              </a:rPr>
              <a:t>Macroeconomic performanc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245019788"/>
              </p:ext>
            </p:extLst>
          </p:nvPr>
        </p:nvGraphicFramePr>
        <p:xfrm>
          <a:off x="304799" y="2066918"/>
          <a:ext cx="8587682" cy="3546529"/>
        </p:xfrm>
        <a:graphic>
          <a:graphicData uri="http://schemas.openxmlformats.org/drawingml/2006/table">
            <a:tbl>
              <a:tblPr/>
              <a:tblGrid>
                <a:gridCol w="587361">
                  <a:extLst>
                    <a:ext uri="{9D8B030D-6E8A-4147-A177-3AD203B41FA5}">
                      <a16:colId xmlns:a16="http://schemas.microsoft.com/office/drawing/2014/main" xmlns="" val="3299820916"/>
                    </a:ext>
                  </a:extLst>
                </a:gridCol>
                <a:gridCol w="4111553">
                  <a:extLst>
                    <a:ext uri="{9D8B030D-6E8A-4147-A177-3AD203B41FA5}">
                      <a16:colId xmlns:a16="http://schemas.microsoft.com/office/drawing/2014/main" xmlns="" val="2376620707"/>
                    </a:ext>
                  </a:extLst>
                </a:gridCol>
                <a:gridCol w="972192">
                  <a:extLst>
                    <a:ext uri="{9D8B030D-6E8A-4147-A177-3AD203B41FA5}">
                      <a16:colId xmlns:a16="http://schemas.microsoft.com/office/drawing/2014/main" xmlns="" val="3938194771"/>
                    </a:ext>
                  </a:extLst>
                </a:gridCol>
                <a:gridCol w="972192">
                  <a:extLst>
                    <a:ext uri="{9D8B030D-6E8A-4147-A177-3AD203B41FA5}">
                      <a16:colId xmlns:a16="http://schemas.microsoft.com/office/drawing/2014/main" xmlns="" val="1914647247"/>
                    </a:ext>
                  </a:extLst>
                </a:gridCol>
                <a:gridCol w="972192">
                  <a:extLst>
                    <a:ext uri="{9D8B030D-6E8A-4147-A177-3AD203B41FA5}">
                      <a16:colId xmlns:a16="http://schemas.microsoft.com/office/drawing/2014/main" xmlns="" val="1283005800"/>
                    </a:ext>
                  </a:extLst>
                </a:gridCol>
                <a:gridCol w="972192">
                  <a:extLst>
                    <a:ext uri="{9D8B030D-6E8A-4147-A177-3AD203B41FA5}">
                      <a16:colId xmlns:a16="http://schemas.microsoft.com/office/drawing/2014/main" xmlns="" val="719644043"/>
                    </a:ext>
                  </a:extLst>
                </a:gridCol>
              </a:tblGrid>
              <a:tr h="648291"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016</a:t>
                      </a:r>
                    </a:p>
                  </a:txBody>
                  <a:tcPr marL="9525" marR="18288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017</a:t>
                      </a: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018(f)</a:t>
                      </a: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2019(f)</a:t>
                      </a:r>
                    </a:p>
                  </a:txBody>
                  <a:tcPr marL="9525" marR="182880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14759231"/>
                  </a:ext>
                </a:extLst>
              </a:tr>
              <a:tr h="414034"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orld output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.2</a:t>
                      </a:r>
                    </a:p>
                  </a:txBody>
                  <a:tcPr marL="9525" marR="18288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.7</a:t>
                      </a: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.9</a:t>
                      </a: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.9</a:t>
                      </a:r>
                    </a:p>
                  </a:txBody>
                  <a:tcPr marL="9525" marR="182880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65087627"/>
                  </a:ext>
                </a:extLst>
              </a:tr>
              <a:tr h="414034"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dvanced Economies 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.7</a:t>
                      </a:r>
                    </a:p>
                  </a:txBody>
                  <a:tcPr marL="9525" marR="18288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.4</a:t>
                      </a: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.4</a:t>
                      </a: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.2</a:t>
                      </a:r>
                    </a:p>
                  </a:txBody>
                  <a:tcPr marL="9525" marR="182880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83200773"/>
                  </a:ext>
                </a:extLst>
              </a:tr>
              <a:tr h="414034"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merging and Developing Countries 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.4</a:t>
                      </a:r>
                    </a:p>
                  </a:txBody>
                  <a:tcPr marL="9525" marR="18288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.7</a:t>
                      </a: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.9</a:t>
                      </a: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.1</a:t>
                      </a:r>
                    </a:p>
                  </a:txBody>
                  <a:tcPr marL="9525" marR="182880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0545662"/>
                  </a:ext>
                </a:extLst>
              </a:tr>
              <a:tr h="414034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1" i="1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hina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.7</a:t>
                      </a:r>
                    </a:p>
                  </a:txBody>
                  <a:tcPr marL="9525" marR="18288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.9</a:t>
                      </a: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.6</a:t>
                      </a: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.4</a:t>
                      </a:r>
                    </a:p>
                  </a:txBody>
                  <a:tcPr marL="9525" marR="182880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55821955"/>
                  </a:ext>
                </a:extLst>
              </a:tr>
              <a:tr h="414034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1" i="1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ub-Saharan Countries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.5</a:t>
                      </a:r>
                    </a:p>
                  </a:txBody>
                  <a:tcPr marL="9525" marR="18288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.8</a:t>
                      </a: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.4</a:t>
                      </a: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.8</a:t>
                      </a:r>
                    </a:p>
                  </a:txBody>
                  <a:tcPr marL="9525" marR="182880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41473694"/>
                  </a:ext>
                </a:extLst>
              </a:tr>
              <a:tr h="414034"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outh Africa 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0.6</a:t>
                      </a:r>
                    </a:p>
                  </a:txBody>
                  <a:tcPr marL="9525" marR="18288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.3</a:t>
                      </a: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.4</a:t>
                      </a: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.0</a:t>
                      </a:r>
                    </a:p>
                  </a:txBody>
                  <a:tcPr marL="9525" marR="182880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02045313"/>
                  </a:ext>
                </a:extLst>
              </a:tr>
              <a:tr h="414034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1" i="1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estern Cape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i="1" u="none" strike="noStrik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</a:rPr>
                        <a:t>1.2</a:t>
                      </a:r>
                    </a:p>
                  </a:txBody>
                  <a:tcPr marL="9525" marR="18288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i="1" u="none" strike="noStrik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</a:rPr>
                        <a:t>1.3</a:t>
                      </a: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i="1" u="none" strike="noStrik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</a:rPr>
                        <a:t>0.2</a:t>
                      </a: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600" b="1" i="1" u="none" strike="noStrike" dirty="0"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</a:rPr>
                        <a:t>2.7</a:t>
                      </a:r>
                    </a:p>
                  </a:txBody>
                  <a:tcPr marL="9525" marR="182880" marT="9525" marB="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49117592"/>
                  </a:ext>
                </a:extLst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221649" y="1728364"/>
            <a:ext cx="51021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/>
              <a:t>Growth outlook, </a:t>
            </a:r>
            <a:r>
              <a:rPr lang="en-US" sz="1600" b="1" dirty="0"/>
              <a:t>2018 - 2019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7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59749" y="5821196"/>
            <a:ext cx="661085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Note: Forecasts for SA and WC are based on Stats SA Quarter 1 of 2018 GDP Report</a:t>
            </a: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259749" y="1083947"/>
            <a:ext cx="8823799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r>
              <a:rPr lang="en-US" sz="1800" i="1" dirty="0">
                <a:solidFill>
                  <a:schemeClr val="bg1">
                    <a:lumMod val="50000"/>
                  </a:schemeClr>
                </a:solidFill>
              </a:rPr>
              <a:t>Uncertain economic outlook</a:t>
            </a:r>
          </a:p>
        </p:txBody>
      </p:sp>
    </p:spTree>
    <p:extLst>
      <p:ext uri="{BB962C8B-B14F-4D97-AF65-F5344CB8AC3E}">
        <p14:creationId xmlns:p14="http://schemas.microsoft.com/office/powerpoint/2010/main" xmlns="" val="22682890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223868"/>
            <a:ext cx="8597205" cy="559256"/>
          </a:xfrm>
        </p:spPr>
        <p:txBody>
          <a:bodyPr/>
          <a:lstStyle/>
          <a:p>
            <a:r>
              <a:rPr lang="en-US" dirty="0">
                <a:solidFill>
                  <a:srgbClr val="001489"/>
                </a:solidFill>
              </a:rPr>
              <a:t>Regional economic performanc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Text Placeholder 6"/>
          <p:cNvSpPr txBox="1">
            <a:spLocks noGrp="1"/>
          </p:cNvSpPr>
          <p:nvPr>
            <p:ph type="body" sz="quarter" idx="10"/>
          </p:nvPr>
        </p:nvSpPr>
        <p:spPr>
          <a:xfrm>
            <a:off x="329087" y="1635327"/>
            <a:ext cx="8597205" cy="3916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Western Cape </a:t>
            </a:r>
            <a:r>
              <a:rPr lang="en-US"/>
              <a:t>growth outlook, </a:t>
            </a:r>
            <a:r>
              <a:rPr lang="en-US" dirty="0"/>
              <a:t>2018 - 2019 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8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95275" y="5849929"/>
            <a:ext cx="661085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Note: Forecasts for SA and WC are based on Stats SA Quarter 1 of 2018 GDP Report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403696212"/>
              </p:ext>
            </p:extLst>
          </p:nvPr>
        </p:nvGraphicFramePr>
        <p:xfrm>
          <a:off x="367189" y="2009552"/>
          <a:ext cx="8559102" cy="3705443"/>
        </p:xfrm>
        <a:graphic>
          <a:graphicData uri="http://schemas.openxmlformats.org/drawingml/2006/table">
            <a:tbl>
              <a:tblPr firstRow="1" firstCol="1" bandRow="1"/>
              <a:tblGrid>
                <a:gridCol w="4522556">
                  <a:extLst>
                    <a:ext uri="{9D8B030D-6E8A-4147-A177-3AD203B41FA5}">
                      <a16:colId xmlns:a16="http://schemas.microsoft.com/office/drawing/2014/main" xmlns="" val="2805699747"/>
                    </a:ext>
                  </a:extLst>
                </a:gridCol>
                <a:gridCol w="1039513">
                  <a:extLst>
                    <a:ext uri="{9D8B030D-6E8A-4147-A177-3AD203B41FA5}">
                      <a16:colId xmlns:a16="http://schemas.microsoft.com/office/drawing/2014/main" xmlns="" val="847643349"/>
                    </a:ext>
                  </a:extLst>
                </a:gridCol>
                <a:gridCol w="999011">
                  <a:extLst>
                    <a:ext uri="{9D8B030D-6E8A-4147-A177-3AD203B41FA5}">
                      <a16:colId xmlns:a16="http://schemas.microsoft.com/office/drawing/2014/main" xmlns="" val="3093794830"/>
                    </a:ext>
                  </a:extLst>
                </a:gridCol>
                <a:gridCol w="999011">
                  <a:extLst>
                    <a:ext uri="{9D8B030D-6E8A-4147-A177-3AD203B41FA5}">
                      <a16:colId xmlns:a16="http://schemas.microsoft.com/office/drawing/2014/main" xmlns="" val="3566169235"/>
                    </a:ext>
                  </a:extLst>
                </a:gridCol>
                <a:gridCol w="999011">
                  <a:extLst>
                    <a:ext uri="{9D8B030D-6E8A-4147-A177-3AD203B41FA5}">
                      <a16:colId xmlns:a16="http://schemas.microsoft.com/office/drawing/2014/main" xmlns="" val="1478908965"/>
                    </a:ext>
                  </a:extLst>
                </a:gridCol>
              </a:tblGrid>
              <a:tr h="6599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en-US" sz="1400" dirty="0"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b="1" kern="120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16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b="1" kern="1200" dirty="0" err="1">
                          <a:solidFill>
                            <a:srgbClr val="FFFFFF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17e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b="1" kern="1200" dirty="0" err="1">
                          <a:solidFill>
                            <a:srgbClr val="FFFFFF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18f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400" b="1" kern="1200">
                          <a:solidFill>
                            <a:srgbClr val="FFFFFF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19f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06889524"/>
                  </a:ext>
                </a:extLst>
              </a:tr>
              <a:tr h="254617">
                <a:tc>
                  <a:txBody>
                    <a:bodyPr/>
                    <a:lstStyle/>
                    <a:p>
                      <a:pPr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griculture, </a:t>
                      </a: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orestry and fishing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-7.2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8.3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b="1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-24.6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CD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.1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C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1333903"/>
                  </a:ext>
                </a:extLst>
              </a:tr>
              <a:tr h="254617">
                <a:tc>
                  <a:txBody>
                    <a:bodyPr/>
                    <a:lstStyle/>
                    <a:p>
                      <a:pPr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ining and quarrying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-0.1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.2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.1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CD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.5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C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75128816"/>
                  </a:ext>
                </a:extLst>
              </a:tr>
              <a:tr h="254617">
                <a:tc>
                  <a:txBody>
                    <a:bodyPr/>
                    <a:lstStyle/>
                    <a:p>
                      <a:pPr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anufacturing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.9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.1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b="1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-1.6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CD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C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64027544"/>
                  </a:ext>
                </a:extLst>
              </a:tr>
              <a:tr h="254617">
                <a:tc>
                  <a:txBody>
                    <a:bodyPr/>
                    <a:lstStyle/>
                    <a:p>
                      <a:pPr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lectricity, </a:t>
                      </a: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as and water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-2.4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2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1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CD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3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C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33467347"/>
                  </a:ext>
                </a:extLst>
              </a:tr>
              <a:tr h="254617">
                <a:tc>
                  <a:txBody>
                    <a:bodyPr/>
                    <a:lstStyle/>
                    <a:p>
                      <a:pPr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nstruction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3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1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.4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CD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.1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C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41642307"/>
                  </a:ext>
                </a:extLst>
              </a:tr>
              <a:tr h="499304">
                <a:tc>
                  <a:txBody>
                    <a:bodyPr/>
                    <a:lstStyle/>
                    <a:p>
                      <a:pPr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Wholesale and </a:t>
                      </a:r>
                      <a:r>
                        <a:rPr lang="en-GB" sz="14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tail trade, </a:t>
                      </a: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atering and accommodation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.2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-0.5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4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CD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5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C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4447617"/>
                  </a:ext>
                </a:extLst>
              </a:tr>
              <a:tr h="254617">
                <a:tc>
                  <a:txBody>
                    <a:bodyPr/>
                    <a:lstStyle/>
                    <a:p>
                      <a:pPr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ransport, </a:t>
                      </a: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orage and communication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5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.4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CD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.4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C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56924"/>
                  </a:ext>
                </a:extLst>
              </a:tr>
              <a:tr h="254617">
                <a:tc>
                  <a:txBody>
                    <a:bodyPr/>
                    <a:lstStyle/>
                    <a:p>
                      <a:pPr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Finance, insurance, </a:t>
                      </a: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al estate and business services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.3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.1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.5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CD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.5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C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96683754"/>
                  </a:ext>
                </a:extLst>
              </a:tr>
              <a:tr h="254617">
                <a:tc>
                  <a:txBody>
                    <a:bodyPr/>
                    <a:lstStyle/>
                    <a:p>
                      <a:pPr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ommunity, </a:t>
                      </a: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cial and personal services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6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4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9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CD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.3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C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78545137"/>
                  </a:ext>
                </a:extLst>
              </a:tr>
              <a:tr h="254617">
                <a:tc>
                  <a:txBody>
                    <a:bodyPr/>
                    <a:lstStyle/>
                    <a:p>
                      <a:pPr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eneral government 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3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.4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.4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CD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1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C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89619370"/>
                  </a:ext>
                </a:extLst>
              </a:tr>
              <a:tr h="254617">
                <a:tc>
                  <a:txBody>
                    <a:bodyPr/>
                    <a:lstStyle/>
                    <a:p>
                      <a:pPr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b="1" i="1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gional Gross Domestic Product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b="1" i="1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2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b="1" i="1" kern="1200">
                          <a:solidFill>
                            <a:srgbClr val="FF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.3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b="1" i="1" kern="1200">
                          <a:solidFill>
                            <a:srgbClr val="FF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.2</a:t>
                      </a:r>
                      <a:endParaRPr lang="en-US" sz="14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CDC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0000"/>
                        </a:lnSpc>
                        <a:spcAft>
                          <a:spcPts val="0"/>
                        </a:spcAft>
                      </a:pPr>
                      <a:r>
                        <a:rPr lang="en-GB" sz="1400" b="1" i="1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.7</a:t>
                      </a:r>
                      <a:endParaRPr lang="en-US" sz="14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182880" marT="9525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1CDC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4886577"/>
                  </a:ext>
                </a:extLst>
              </a:tr>
            </a:tbl>
          </a:graphicData>
        </a:graphic>
      </p:graphicFrame>
      <p:sp>
        <p:nvSpPr>
          <p:cNvPr id="9" name="Title 1"/>
          <p:cNvSpPr txBox="1">
            <a:spLocks/>
          </p:cNvSpPr>
          <p:nvPr/>
        </p:nvSpPr>
        <p:spPr>
          <a:xfrm>
            <a:off x="333375" y="1065499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r>
              <a:rPr lang="en-US" sz="1800" i="1" dirty="0">
                <a:solidFill>
                  <a:schemeClr val="bg1">
                    <a:lumMod val="50000"/>
                  </a:schemeClr>
                </a:solidFill>
              </a:rPr>
              <a:t>Contraction expected in Agriculture and Manufacturing</a:t>
            </a:r>
          </a:p>
        </p:txBody>
      </p:sp>
    </p:spTree>
    <p:extLst>
      <p:ext uri="{BB962C8B-B14F-4D97-AF65-F5344CB8AC3E}">
        <p14:creationId xmlns:p14="http://schemas.microsoft.com/office/powerpoint/2010/main" xmlns="" val="36971768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ZA" dirty="0">
                <a:solidFill>
                  <a:srgbClr val="001489"/>
                </a:solidFill>
              </a:rPr>
              <a:t>Private Services Sector drives regional growth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46795" y="4070553"/>
            <a:ext cx="8597205" cy="5026025"/>
          </a:xfrm>
        </p:spPr>
        <p:txBody>
          <a:bodyPr>
            <a:noAutofit/>
          </a:bodyPr>
          <a:lstStyle/>
          <a:p>
            <a:pPr marL="228600" indent="-228600">
              <a:lnSpc>
                <a:spcPct val="130000"/>
              </a:lnSpc>
              <a:buBlip>
                <a:blip r:embed="rId3"/>
              </a:buBlip>
            </a:pPr>
            <a:endParaRPr lang="en-US" b="0" dirty="0"/>
          </a:p>
          <a:p>
            <a:pPr marL="228600" indent="-228600">
              <a:lnSpc>
                <a:spcPct val="130000"/>
              </a:lnSpc>
              <a:buBlip>
                <a:blip r:embed="rId3"/>
              </a:buBlip>
            </a:pPr>
            <a:endParaRPr lang="en-ZA" b="0" dirty="0"/>
          </a:p>
        </p:txBody>
      </p:sp>
      <p:graphicFrame>
        <p:nvGraphicFramePr>
          <p:cNvPr id="6" name="Chart 5">
            <a:extLst/>
          </p:cNvPr>
          <p:cNvGraphicFramePr/>
          <p:nvPr>
            <p:extLst>
              <p:ext uri="{D42A27DB-BD31-4B8C-83A1-F6EECF244321}">
                <p14:modId xmlns:p14="http://schemas.microsoft.com/office/powerpoint/2010/main" xmlns="" val="1802720359"/>
              </p:ext>
            </p:extLst>
          </p:nvPr>
        </p:nvGraphicFramePr>
        <p:xfrm>
          <a:off x="326831" y="1440800"/>
          <a:ext cx="8817169" cy="450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263718" y="1071468"/>
            <a:ext cx="86603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1" i="1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t>Western Cape percentage contribution to growth per services subsector</a:t>
            </a:r>
            <a:endParaRPr kumimoji="0" lang="en-US" sz="1800" b="1" i="1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378080" y="6468150"/>
            <a:ext cx="514400" cy="230832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1000" b="0" i="0" u="none" strike="noStrike" kern="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ZA" sz="1000" b="0" i="0" u="none" strike="noStrike" kern="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>
                <a:solidFill>
                  <a:srgbClr val="998F86"/>
                </a:solidFill>
              </a:rPr>
              <a:t>2018 PERO &amp; MERO Budget Committee Presentation 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820894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W7sZ06LbXOADmgFMdiD8S7mwauFqwXJB"/>
  <p:tag name="SMARTBOX_SB8" val="5zbCZmvvwdXViW/PdaUP0A=="/>
  <p:tag name="SMARTBOX_SB7" val="okpar52XqDQrSAOpqNqg5Q==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ustin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WCG-Provincial Treasury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2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8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ustin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1_WCG-Provincial Treasury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2_WCG-Provincial Treasury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3_WCG-Provincial Treasury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4_WCG-Provincial Treasury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7.xml><?xml version="1.0" encoding="utf-8"?>
<a:theme xmlns:a="http://schemas.openxmlformats.org/drawingml/2006/main" name="5_WCG-Provincial Treasury-New PPT Master-01112012">
  <a:themeElements>
    <a:clrScheme name="Custom 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A5A5A5"/>
      </a:accent1>
      <a:accent2>
        <a:srgbClr val="000099"/>
      </a:accent2>
      <a:accent3>
        <a:srgbClr val="CC9900"/>
      </a:accent3>
      <a:accent4>
        <a:srgbClr val="008000"/>
      </a:accent4>
      <a:accent5>
        <a:srgbClr val="5B9BD5"/>
      </a:accent5>
      <a:accent6>
        <a:srgbClr val="FF9900"/>
      </a:accent6>
      <a:hlink>
        <a:srgbClr val="FFCC00"/>
      </a:hlink>
      <a:folHlink>
        <a:srgbClr val="954F72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ustin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ustin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ustin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ustin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明朝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Provincial Treasury</Template>
  <TotalTime>7148</TotalTime>
  <Words>2608</Words>
  <Application>Microsoft Office PowerPoint</Application>
  <PresentationFormat>On-screen Show (4:3)</PresentationFormat>
  <Paragraphs>667</Paragraphs>
  <Slides>26</Slides>
  <Notes>15</Notes>
  <HiddenSlides>0</HiddenSlides>
  <MMClips>0</MMClips>
  <ScaleCrop>false</ScaleCrop>
  <HeadingPairs>
    <vt:vector size="6" baseType="variant">
      <vt:variant>
        <vt:lpstr>Theme</vt:lpstr>
      </vt:variant>
      <vt:variant>
        <vt:i4>1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44" baseType="lpstr">
      <vt:lpstr>Custom Design</vt:lpstr>
      <vt:lpstr>2_Custom Design</vt:lpstr>
      <vt:lpstr>1_Custom Design</vt:lpstr>
      <vt:lpstr>3_Custom Design</vt:lpstr>
      <vt:lpstr>Western Cape Government Master Template</vt:lpstr>
      <vt:lpstr>4_Custom Design</vt:lpstr>
      <vt:lpstr>5_Custom Design</vt:lpstr>
      <vt:lpstr>6_Custom Design</vt:lpstr>
      <vt:lpstr>1_Western Cape Government Master Template</vt:lpstr>
      <vt:lpstr>WCG-Provincial Treasury-New PPT Master-01112012</vt:lpstr>
      <vt:lpstr>2_Western Cape Government Master Template</vt:lpstr>
      <vt:lpstr>8_Custom Design</vt:lpstr>
      <vt:lpstr>1_WCG-Provincial Treasury-New PPT Master-01112012</vt:lpstr>
      <vt:lpstr>2_WCG-Provincial Treasury-New PPT Master-01112012</vt:lpstr>
      <vt:lpstr>3_WCG-Provincial Treasury-New PPT Master-01112012</vt:lpstr>
      <vt:lpstr>4_WCG-Provincial Treasury-New PPT Master-01112012</vt:lpstr>
      <vt:lpstr>5_WCG-Provincial Treasury-New PPT Master-01112012</vt:lpstr>
      <vt:lpstr>think-cell Slide</vt:lpstr>
      <vt:lpstr> 2018 Provincial and Municipal Economic Review and Outlook</vt:lpstr>
      <vt:lpstr>Slide 2</vt:lpstr>
      <vt:lpstr>Introduction</vt:lpstr>
      <vt:lpstr>Integrated policy, planning, budgeting and  implementation cycle</vt:lpstr>
      <vt:lpstr>Slide 5</vt:lpstr>
      <vt:lpstr>Outline of the 2018 Provincial Economic Review and  Outlook</vt:lpstr>
      <vt:lpstr>Macroeconomic performance</vt:lpstr>
      <vt:lpstr>Regional economic performance</vt:lpstr>
      <vt:lpstr>Private Services Sector drives regional growth</vt:lpstr>
      <vt:lpstr>Key trends in regional sectors and industries</vt:lpstr>
      <vt:lpstr>Muted labour market performance</vt:lpstr>
      <vt:lpstr>Regional socio-economic developments</vt:lpstr>
      <vt:lpstr>Slide 13</vt:lpstr>
      <vt:lpstr>Outline of the 2018 Provincial and  Municipal Economic Review and Outlook</vt:lpstr>
      <vt:lpstr>Slide 15</vt:lpstr>
      <vt:lpstr>Sectoral contribution per district, 2016</vt:lpstr>
      <vt:lpstr>Real GDPR growth trend growth by sector and district:  2013 – 2017e</vt:lpstr>
      <vt:lpstr>GDPR forecast per district, 2018 - 2019</vt:lpstr>
      <vt:lpstr>Agriculture sector trends</vt:lpstr>
      <vt:lpstr>Infrastructure Investment</vt:lpstr>
      <vt:lpstr>Key Socio-Economic findings</vt:lpstr>
      <vt:lpstr>Slide 22</vt:lpstr>
      <vt:lpstr>The role of PERO and MERO in a VUCA World</vt:lpstr>
      <vt:lpstr>Implications for policy, planning and budgeting</vt:lpstr>
      <vt:lpstr>Budget Policy formulation and responses</vt:lpstr>
      <vt:lpstr>Slide 26</vt:lpstr>
    </vt:vector>
  </TitlesOfParts>
  <Company>University of Stellenbosch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sub-title  Date of presentation</dc:title>
  <dc:creator>Lemboe, CJ, Mnr &lt;cjl@sun.ac.za&gt;</dc:creator>
  <cp:lastModifiedBy>PUMZA</cp:lastModifiedBy>
  <cp:revision>677</cp:revision>
  <cp:lastPrinted>2018-09-27T14:06:45Z</cp:lastPrinted>
  <dcterms:created xsi:type="dcterms:W3CDTF">2013-09-06T11:52:44Z</dcterms:created>
  <dcterms:modified xsi:type="dcterms:W3CDTF">2018-09-28T11:49:53Z</dcterms:modified>
</cp:coreProperties>
</file>